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2" r:id="rId6"/>
    <p:sldMasterId id="2147483686" r:id="rId7"/>
  </p:sldMasterIdLst>
  <p:notesMasterIdLst>
    <p:notesMasterId r:id="rId16"/>
  </p:notesMasterIdLst>
  <p:sldIdLst>
    <p:sldId id="466" r:id="rId8"/>
    <p:sldId id="732" r:id="rId9"/>
    <p:sldId id="733" r:id="rId10"/>
    <p:sldId id="737" r:id="rId11"/>
    <p:sldId id="734" r:id="rId12"/>
    <p:sldId id="735" r:id="rId13"/>
    <p:sldId id="736" r:id="rId14"/>
    <p:sldId id="738" r:id="rId15"/>
  </p:sldIdLst>
  <p:sldSz cx="12192000" cy="6858000"/>
  <p:notesSz cx="6805613" cy="9939338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4487"/>
    <a:srgbClr val="00B000"/>
    <a:srgbClr val="21237D"/>
    <a:srgbClr val="5D2884"/>
    <a:srgbClr val="0036A2"/>
    <a:srgbClr val="A800A8"/>
    <a:srgbClr val="8A008A"/>
    <a:srgbClr val="10327E"/>
    <a:srgbClr val="C09200"/>
    <a:srgbClr val="FF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9C7933-DEA1-457C-844F-F94C045C3EAD}" v="92" dt="2021-09-02T15:02:10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49" autoAdjust="0"/>
    <p:restoredTop sz="89210" autoAdjust="0"/>
  </p:normalViewPr>
  <p:slideViewPr>
    <p:cSldViewPr>
      <p:cViewPr varScale="1">
        <p:scale>
          <a:sx n="102" d="100"/>
          <a:sy n="102" d="100"/>
        </p:scale>
        <p:origin x="882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1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ikka Helle" userId="S::riikka.helle@procompglobal.com::eeb05e43-fa91-4d44-a6d3-4aad8a006f54" providerId="AD" clId="Web-{5F9C7933-DEA1-457C-844F-F94C045C3EAD}"/>
    <pc:docChg chg="modSld">
      <pc:chgData name="Riikka Helle" userId="S::riikka.helle@procompglobal.com::eeb05e43-fa91-4d44-a6d3-4aad8a006f54" providerId="AD" clId="Web-{5F9C7933-DEA1-457C-844F-F94C045C3EAD}" dt="2021-09-02T15:02:10.684" v="45" actId="20577"/>
      <pc:docMkLst>
        <pc:docMk/>
      </pc:docMkLst>
      <pc:sldChg chg="modSp">
        <pc:chgData name="Riikka Helle" userId="S::riikka.helle@procompglobal.com::eeb05e43-fa91-4d44-a6d3-4aad8a006f54" providerId="AD" clId="Web-{5F9C7933-DEA1-457C-844F-F94C045C3EAD}" dt="2021-09-02T15:01:40.043" v="6" actId="20577"/>
        <pc:sldMkLst>
          <pc:docMk/>
          <pc:sldMk cId="1807146659" sldId="736"/>
        </pc:sldMkLst>
        <pc:spChg chg="mod">
          <ac:chgData name="Riikka Helle" userId="S::riikka.helle@procompglobal.com::eeb05e43-fa91-4d44-a6d3-4aad8a006f54" providerId="AD" clId="Web-{5F9C7933-DEA1-457C-844F-F94C045C3EAD}" dt="2021-09-02T15:01:40.043" v="6" actId="20577"/>
          <ac:spMkLst>
            <pc:docMk/>
            <pc:sldMk cId="1807146659" sldId="736"/>
            <ac:spMk id="5" creationId="{0B1C5F5A-E314-410D-93A7-052E1F21DF2E}"/>
          </ac:spMkLst>
        </pc:spChg>
      </pc:sldChg>
      <pc:sldChg chg="modSp">
        <pc:chgData name="Riikka Helle" userId="S::riikka.helle@procompglobal.com::eeb05e43-fa91-4d44-a6d3-4aad8a006f54" providerId="AD" clId="Web-{5F9C7933-DEA1-457C-844F-F94C045C3EAD}" dt="2021-09-02T15:02:10.684" v="45" actId="20577"/>
        <pc:sldMkLst>
          <pc:docMk/>
          <pc:sldMk cId="3052487684" sldId="738"/>
        </pc:sldMkLst>
        <pc:spChg chg="mod">
          <ac:chgData name="Riikka Helle" userId="S::riikka.helle@procompglobal.com::eeb05e43-fa91-4d44-a6d3-4aad8a006f54" providerId="AD" clId="Web-{5F9C7933-DEA1-457C-844F-F94C045C3EAD}" dt="2021-09-02T15:02:10.684" v="45" actId="20577"/>
          <ac:spMkLst>
            <pc:docMk/>
            <pc:sldMk cId="3052487684" sldId="738"/>
            <ac:spMk id="5" creationId="{0B1C5F5A-E314-410D-93A7-052E1F21DF2E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BA9ABE-95EB-4B3E-AAE9-E99601FC7BEB}" type="doc">
      <dgm:prSet loTypeId="urn:microsoft.com/office/officeart/2005/8/layout/radial6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6EAB6BBE-BC63-4669-8F9B-C465D440D27B}">
      <dgm:prSet phldrT="[Text]"/>
      <dgm:spPr/>
      <dgm:t>
        <a:bodyPr/>
        <a:lstStyle/>
        <a:p>
          <a:r>
            <a:rPr lang="en-GB" dirty="0"/>
            <a:t>Development team</a:t>
          </a:r>
        </a:p>
      </dgm:t>
    </dgm:pt>
    <dgm:pt modelId="{CC7B10E9-8E35-40C2-BC4B-FF27947805AE}" type="parTrans" cxnId="{3635F632-767F-4F1C-A5EE-37CD9352B27E}">
      <dgm:prSet/>
      <dgm:spPr/>
      <dgm:t>
        <a:bodyPr/>
        <a:lstStyle/>
        <a:p>
          <a:endParaRPr lang="en-GB"/>
        </a:p>
      </dgm:t>
    </dgm:pt>
    <dgm:pt modelId="{61946D1D-7A50-4D3D-A1E2-E11033C73EAD}" type="sibTrans" cxnId="{3635F632-767F-4F1C-A5EE-37CD9352B27E}">
      <dgm:prSet/>
      <dgm:spPr/>
      <dgm:t>
        <a:bodyPr/>
        <a:lstStyle/>
        <a:p>
          <a:endParaRPr lang="en-GB"/>
        </a:p>
      </dgm:t>
    </dgm:pt>
    <dgm:pt modelId="{C11838EB-2491-4935-AD3D-29345D9FB13D}">
      <dgm:prSet phldrT="[Text]"/>
      <dgm:spPr/>
      <dgm:t>
        <a:bodyPr/>
        <a:lstStyle/>
        <a:p>
          <a:r>
            <a:rPr lang="en-GB" dirty="0"/>
            <a:t>Optimisation Specialist</a:t>
          </a:r>
        </a:p>
      </dgm:t>
    </dgm:pt>
    <dgm:pt modelId="{3184445B-0338-4DB3-8C44-0FBC61C09504}" type="parTrans" cxnId="{187260ED-6DBD-434C-B09A-A509027E8B90}">
      <dgm:prSet/>
      <dgm:spPr/>
      <dgm:t>
        <a:bodyPr/>
        <a:lstStyle/>
        <a:p>
          <a:endParaRPr lang="en-GB"/>
        </a:p>
      </dgm:t>
    </dgm:pt>
    <dgm:pt modelId="{0AECB00F-EF81-4716-AC2C-CE3B50049686}" type="sibTrans" cxnId="{187260ED-6DBD-434C-B09A-A509027E8B90}">
      <dgm:prSet/>
      <dgm:spPr/>
      <dgm:t>
        <a:bodyPr/>
        <a:lstStyle/>
        <a:p>
          <a:endParaRPr lang="en-GB"/>
        </a:p>
      </dgm:t>
    </dgm:pt>
    <dgm:pt modelId="{D92C252D-FD53-420E-BBE7-7FF861469DF7}">
      <dgm:prSet phldrT="[Text]"/>
      <dgm:spPr/>
      <dgm:t>
        <a:bodyPr/>
        <a:lstStyle/>
        <a:p>
          <a:r>
            <a:rPr lang="en-GB" dirty="0"/>
            <a:t>Tester</a:t>
          </a:r>
        </a:p>
      </dgm:t>
    </dgm:pt>
    <dgm:pt modelId="{CC5D4941-94C2-451A-8609-132F3552F7A1}" type="parTrans" cxnId="{EC4C31FA-8FD7-4A84-9DA1-FE8AEBFB3B9C}">
      <dgm:prSet/>
      <dgm:spPr/>
      <dgm:t>
        <a:bodyPr/>
        <a:lstStyle/>
        <a:p>
          <a:endParaRPr lang="en-GB"/>
        </a:p>
      </dgm:t>
    </dgm:pt>
    <dgm:pt modelId="{8278A7A1-ABDF-4A67-A988-88B92D8AB45E}" type="sibTrans" cxnId="{EC4C31FA-8FD7-4A84-9DA1-FE8AEBFB3B9C}">
      <dgm:prSet/>
      <dgm:spPr/>
      <dgm:t>
        <a:bodyPr/>
        <a:lstStyle/>
        <a:p>
          <a:endParaRPr lang="en-GB"/>
        </a:p>
      </dgm:t>
    </dgm:pt>
    <dgm:pt modelId="{37604385-569C-4F45-B2C5-BC83EE6B03DD}">
      <dgm:prSet phldrT="[Text]"/>
      <dgm:spPr/>
      <dgm:t>
        <a:bodyPr/>
        <a:lstStyle/>
        <a:p>
          <a:r>
            <a:rPr lang="en-GB" dirty="0"/>
            <a:t>Product Owner</a:t>
          </a:r>
        </a:p>
      </dgm:t>
    </dgm:pt>
    <dgm:pt modelId="{F49B57AE-0BAC-4977-ADF8-8B4A916FAE40}" type="parTrans" cxnId="{22E0EA70-33C0-4A4D-981E-26E077089037}">
      <dgm:prSet/>
      <dgm:spPr/>
      <dgm:t>
        <a:bodyPr/>
        <a:lstStyle/>
        <a:p>
          <a:endParaRPr lang="en-GB"/>
        </a:p>
      </dgm:t>
    </dgm:pt>
    <dgm:pt modelId="{0B1F591F-83A8-4C00-9DA7-C60EFDD699AB}" type="sibTrans" cxnId="{22E0EA70-33C0-4A4D-981E-26E077089037}">
      <dgm:prSet/>
      <dgm:spPr/>
      <dgm:t>
        <a:bodyPr/>
        <a:lstStyle/>
        <a:p>
          <a:endParaRPr lang="en-GB"/>
        </a:p>
      </dgm:t>
    </dgm:pt>
    <dgm:pt modelId="{B855A441-551B-47D6-8317-77D4B1B482D2}">
      <dgm:prSet phldrT="[Text]"/>
      <dgm:spPr/>
      <dgm:t>
        <a:bodyPr/>
        <a:lstStyle/>
        <a:p>
          <a:r>
            <a:rPr lang="en-GB" dirty="0"/>
            <a:t>Developer</a:t>
          </a:r>
        </a:p>
      </dgm:t>
    </dgm:pt>
    <dgm:pt modelId="{D86A77A6-AE06-4BCA-AF9F-FBC351FF3F1C}" type="parTrans" cxnId="{7787CE55-5ECD-4212-AB89-C1F701FD99D6}">
      <dgm:prSet/>
      <dgm:spPr/>
      <dgm:t>
        <a:bodyPr/>
        <a:lstStyle/>
        <a:p>
          <a:endParaRPr lang="en-GB"/>
        </a:p>
      </dgm:t>
    </dgm:pt>
    <dgm:pt modelId="{BB92154F-BD09-4118-8926-6594FE8EEAA7}" type="sibTrans" cxnId="{7787CE55-5ECD-4212-AB89-C1F701FD99D6}">
      <dgm:prSet/>
      <dgm:spPr/>
      <dgm:t>
        <a:bodyPr/>
        <a:lstStyle/>
        <a:p>
          <a:endParaRPr lang="en-GB"/>
        </a:p>
      </dgm:t>
    </dgm:pt>
    <dgm:pt modelId="{66BCCAB1-5F4A-4456-88A2-93750339D8B5}">
      <dgm:prSet phldrT="[Text]"/>
      <dgm:spPr/>
      <dgm:t>
        <a:bodyPr/>
        <a:lstStyle/>
        <a:p>
          <a:r>
            <a:rPr lang="en-GB" dirty="0"/>
            <a:t>UX Designer</a:t>
          </a:r>
        </a:p>
      </dgm:t>
    </dgm:pt>
    <dgm:pt modelId="{4AC0EA2D-B9A0-4A37-BC27-B05AD1AAC1AB}" type="parTrans" cxnId="{5AD25C36-8030-4226-94DC-02A8960DDE6F}">
      <dgm:prSet/>
      <dgm:spPr/>
      <dgm:t>
        <a:bodyPr/>
        <a:lstStyle/>
        <a:p>
          <a:endParaRPr lang="en-GB"/>
        </a:p>
      </dgm:t>
    </dgm:pt>
    <dgm:pt modelId="{EF1DF42F-7DED-4475-ACE5-D4346A9DA199}" type="sibTrans" cxnId="{5AD25C36-8030-4226-94DC-02A8960DDE6F}">
      <dgm:prSet/>
      <dgm:spPr/>
      <dgm:t>
        <a:bodyPr/>
        <a:lstStyle/>
        <a:p>
          <a:endParaRPr lang="en-GB"/>
        </a:p>
      </dgm:t>
    </dgm:pt>
    <dgm:pt modelId="{34DB2546-B367-4356-AAF6-BAFBDD3CF662}">
      <dgm:prSet phldrT="[Text]"/>
      <dgm:spPr/>
      <dgm:t>
        <a:bodyPr/>
        <a:lstStyle/>
        <a:p>
          <a:r>
            <a:rPr lang="en-GB"/>
            <a:t>Customer</a:t>
          </a:r>
          <a:endParaRPr lang="en-GB" dirty="0"/>
        </a:p>
      </dgm:t>
    </dgm:pt>
    <dgm:pt modelId="{6BF72EC1-CD68-44C9-ADDC-4C05C09F050C}" type="parTrans" cxnId="{A396089E-7DA1-45FF-8C0D-1ECB26F94ECB}">
      <dgm:prSet/>
      <dgm:spPr/>
      <dgm:t>
        <a:bodyPr/>
        <a:lstStyle/>
        <a:p>
          <a:endParaRPr lang="en-GB"/>
        </a:p>
      </dgm:t>
    </dgm:pt>
    <dgm:pt modelId="{5506B398-C422-4040-AD91-83ABB361D9D8}" type="sibTrans" cxnId="{A396089E-7DA1-45FF-8C0D-1ECB26F94ECB}">
      <dgm:prSet/>
      <dgm:spPr/>
      <dgm:t>
        <a:bodyPr/>
        <a:lstStyle/>
        <a:p>
          <a:endParaRPr lang="en-GB"/>
        </a:p>
      </dgm:t>
    </dgm:pt>
    <dgm:pt modelId="{6ABB8511-D735-4275-9FC6-B4CA2CFEA157}">
      <dgm:prSet phldrT="[Text]"/>
      <dgm:spPr/>
      <dgm:t>
        <a:bodyPr/>
        <a:lstStyle/>
        <a:p>
          <a:r>
            <a:rPr lang="en-GB" dirty="0"/>
            <a:t>Customer Support Specialist</a:t>
          </a:r>
        </a:p>
      </dgm:t>
    </dgm:pt>
    <dgm:pt modelId="{8C389558-3BEA-4D16-97B1-94BD1E630ECE}" type="sibTrans" cxnId="{E64E098B-760D-4A1C-9D12-2C9B034BDF33}">
      <dgm:prSet/>
      <dgm:spPr/>
      <dgm:t>
        <a:bodyPr/>
        <a:lstStyle/>
        <a:p>
          <a:endParaRPr lang="en-GB"/>
        </a:p>
      </dgm:t>
    </dgm:pt>
    <dgm:pt modelId="{5E8F58C2-E8E6-4D16-A166-AE9D13B7332F}" type="parTrans" cxnId="{E64E098B-760D-4A1C-9D12-2C9B034BDF33}">
      <dgm:prSet/>
      <dgm:spPr/>
      <dgm:t>
        <a:bodyPr/>
        <a:lstStyle/>
        <a:p>
          <a:endParaRPr lang="en-GB"/>
        </a:p>
      </dgm:t>
    </dgm:pt>
    <dgm:pt modelId="{03B367FD-DA17-404A-B8B6-DF6E06A876FD}" type="pres">
      <dgm:prSet presAssocID="{A5BA9ABE-95EB-4B3E-AAE9-E99601FC7BE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CC8E4092-B422-4051-B240-BAE80DEA602E}" type="pres">
      <dgm:prSet presAssocID="{6EAB6BBE-BC63-4669-8F9B-C465D440D27B}" presName="centerShape" presStyleLbl="node0" presStyleIdx="0" presStyleCnt="1"/>
      <dgm:spPr/>
    </dgm:pt>
    <dgm:pt modelId="{F8FC4C7A-0475-4140-ADF1-919036BCA4A2}" type="pres">
      <dgm:prSet presAssocID="{C11838EB-2491-4935-AD3D-29345D9FB13D}" presName="node" presStyleLbl="node1" presStyleIdx="0" presStyleCnt="7">
        <dgm:presLayoutVars>
          <dgm:bulletEnabled val="1"/>
        </dgm:presLayoutVars>
      </dgm:prSet>
      <dgm:spPr/>
    </dgm:pt>
    <dgm:pt modelId="{7F9A23DB-3FAE-4554-A3AD-99B00FDCF564}" type="pres">
      <dgm:prSet presAssocID="{C11838EB-2491-4935-AD3D-29345D9FB13D}" presName="dummy" presStyleCnt="0"/>
      <dgm:spPr/>
    </dgm:pt>
    <dgm:pt modelId="{0F615195-342D-4D83-BB79-BD25D5DD888D}" type="pres">
      <dgm:prSet presAssocID="{0AECB00F-EF81-4716-AC2C-CE3B50049686}" presName="sibTrans" presStyleLbl="sibTrans2D1" presStyleIdx="0" presStyleCnt="7"/>
      <dgm:spPr/>
    </dgm:pt>
    <dgm:pt modelId="{B5441115-4CEB-4150-BC26-7DDFA03819DA}" type="pres">
      <dgm:prSet presAssocID="{D92C252D-FD53-420E-BBE7-7FF861469DF7}" presName="node" presStyleLbl="node1" presStyleIdx="1" presStyleCnt="7">
        <dgm:presLayoutVars>
          <dgm:bulletEnabled val="1"/>
        </dgm:presLayoutVars>
      </dgm:prSet>
      <dgm:spPr/>
    </dgm:pt>
    <dgm:pt modelId="{FBF9EBAA-45A1-4BE5-8A18-ED125C5DE358}" type="pres">
      <dgm:prSet presAssocID="{D92C252D-FD53-420E-BBE7-7FF861469DF7}" presName="dummy" presStyleCnt="0"/>
      <dgm:spPr/>
    </dgm:pt>
    <dgm:pt modelId="{D9254491-6AFC-4026-9E53-9E0937BB7A3F}" type="pres">
      <dgm:prSet presAssocID="{8278A7A1-ABDF-4A67-A988-88B92D8AB45E}" presName="sibTrans" presStyleLbl="sibTrans2D1" presStyleIdx="1" presStyleCnt="7"/>
      <dgm:spPr/>
    </dgm:pt>
    <dgm:pt modelId="{C9679D84-FC48-4117-8E6C-32302C87ADD3}" type="pres">
      <dgm:prSet presAssocID="{37604385-569C-4F45-B2C5-BC83EE6B03DD}" presName="node" presStyleLbl="node1" presStyleIdx="2" presStyleCnt="7">
        <dgm:presLayoutVars>
          <dgm:bulletEnabled val="1"/>
        </dgm:presLayoutVars>
      </dgm:prSet>
      <dgm:spPr/>
    </dgm:pt>
    <dgm:pt modelId="{6B7FD56A-51BC-4D55-B150-86B8546FA54F}" type="pres">
      <dgm:prSet presAssocID="{37604385-569C-4F45-B2C5-BC83EE6B03DD}" presName="dummy" presStyleCnt="0"/>
      <dgm:spPr/>
    </dgm:pt>
    <dgm:pt modelId="{8467A8D2-9EC7-4644-9A4F-45A6C8F0C117}" type="pres">
      <dgm:prSet presAssocID="{0B1F591F-83A8-4C00-9DA7-C60EFDD699AB}" presName="sibTrans" presStyleLbl="sibTrans2D1" presStyleIdx="2" presStyleCnt="7"/>
      <dgm:spPr/>
    </dgm:pt>
    <dgm:pt modelId="{997A9706-0874-49E2-B81B-09C7937E839F}" type="pres">
      <dgm:prSet presAssocID="{B855A441-551B-47D6-8317-77D4B1B482D2}" presName="node" presStyleLbl="node1" presStyleIdx="3" presStyleCnt="7">
        <dgm:presLayoutVars>
          <dgm:bulletEnabled val="1"/>
        </dgm:presLayoutVars>
      </dgm:prSet>
      <dgm:spPr/>
    </dgm:pt>
    <dgm:pt modelId="{51C3546F-994C-45E0-88F4-D18B3F129991}" type="pres">
      <dgm:prSet presAssocID="{B855A441-551B-47D6-8317-77D4B1B482D2}" presName="dummy" presStyleCnt="0"/>
      <dgm:spPr/>
    </dgm:pt>
    <dgm:pt modelId="{1874E46A-D228-4012-967F-67469A167142}" type="pres">
      <dgm:prSet presAssocID="{BB92154F-BD09-4118-8926-6594FE8EEAA7}" presName="sibTrans" presStyleLbl="sibTrans2D1" presStyleIdx="3" presStyleCnt="7"/>
      <dgm:spPr/>
    </dgm:pt>
    <dgm:pt modelId="{05BFB1EF-DBE6-4ED4-A89C-72791D0F9099}" type="pres">
      <dgm:prSet presAssocID="{66BCCAB1-5F4A-4456-88A2-93750339D8B5}" presName="node" presStyleLbl="node1" presStyleIdx="4" presStyleCnt="7">
        <dgm:presLayoutVars>
          <dgm:bulletEnabled val="1"/>
        </dgm:presLayoutVars>
      </dgm:prSet>
      <dgm:spPr/>
    </dgm:pt>
    <dgm:pt modelId="{4E602D2A-0DB2-49A5-893C-5A0F743A0B50}" type="pres">
      <dgm:prSet presAssocID="{66BCCAB1-5F4A-4456-88A2-93750339D8B5}" presName="dummy" presStyleCnt="0"/>
      <dgm:spPr/>
    </dgm:pt>
    <dgm:pt modelId="{B8EE0084-7E20-4A4D-9A8A-413A5324F7CA}" type="pres">
      <dgm:prSet presAssocID="{EF1DF42F-7DED-4475-ACE5-D4346A9DA199}" presName="sibTrans" presStyleLbl="sibTrans2D1" presStyleIdx="4" presStyleCnt="7"/>
      <dgm:spPr/>
    </dgm:pt>
    <dgm:pt modelId="{09F7E1C0-B33F-4174-9C41-09D0CA50EE87}" type="pres">
      <dgm:prSet presAssocID="{6ABB8511-D735-4275-9FC6-B4CA2CFEA157}" presName="node" presStyleLbl="node1" presStyleIdx="5" presStyleCnt="7">
        <dgm:presLayoutVars>
          <dgm:bulletEnabled val="1"/>
        </dgm:presLayoutVars>
      </dgm:prSet>
      <dgm:spPr/>
    </dgm:pt>
    <dgm:pt modelId="{E1585328-EFFB-44E8-A9C9-CDBA8CF05098}" type="pres">
      <dgm:prSet presAssocID="{6ABB8511-D735-4275-9FC6-B4CA2CFEA157}" presName="dummy" presStyleCnt="0"/>
      <dgm:spPr/>
    </dgm:pt>
    <dgm:pt modelId="{7064012E-17F3-4FCE-AF6C-BE2FC7B4B741}" type="pres">
      <dgm:prSet presAssocID="{8C389558-3BEA-4D16-97B1-94BD1E630ECE}" presName="sibTrans" presStyleLbl="sibTrans2D1" presStyleIdx="5" presStyleCnt="7"/>
      <dgm:spPr/>
    </dgm:pt>
    <dgm:pt modelId="{6B55E269-8471-4306-A252-1AC378145AC9}" type="pres">
      <dgm:prSet presAssocID="{34DB2546-B367-4356-AAF6-BAFBDD3CF662}" presName="node" presStyleLbl="node1" presStyleIdx="6" presStyleCnt="7">
        <dgm:presLayoutVars>
          <dgm:bulletEnabled val="1"/>
        </dgm:presLayoutVars>
      </dgm:prSet>
      <dgm:spPr/>
    </dgm:pt>
    <dgm:pt modelId="{218C99E5-5D81-4231-BA38-37BE4C095E28}" type="pres">
      <dgm:prSet presAssocID="{34DB2546-B367-4356-AAF6-BAFBDD3CF662}" presName="dummy" presStyleCnt="0"/>
      <dgm:spPr/>
    </dgm:pt>
    <dgm:pt modelId="{17008029-C141-425F-855A-5D630E1F1FF9}" type="pres">
      <dgm:prSet presAssocID="{5506B398-C422-4040-AD91-83ABB361D9D8}" presName="sibTrans" presStyleLbl="sibTrans2D1" presStyleIdx="6" presStyleCnt="7"/>
      <dgm:spPr/>
    </dgm:pt>
  </dgm:ptLst>
  <dgm:cxnLst>
    <dgm:cxn modelId="{FC62E805-CA65-4F13-8E39-CD162B7810B8}" type="presOf" srcId="{A5BA9ABE-95EB-4B3E-AAE9-E99601FC7BEB}" destId="{03B367FD-DA17-404A-B8B6-DF6E06A876FD}" srcOrd="0" destOrd="0" presId="urn:microsoft.com/office/officeart/2005/8/layout/radial6"/>
    <dgm:cxn modelId="{B241F80D-7E3B-4D70-9B1F-EDD8AEB2D27D}" type="presOf" srcId="{0AECB00F-EF81-4716-AC2C-CE3B50049686}" destId="{0F615195-342D-4D83-BB79-BD25D5DD888D}" srcOrd="0" destOrd="0" presId="urn:microsoft.com/office/officeart/2005/8/layout/radial6"/>
    <dgm:cxn modelId="{8462C11C-7A06-4AFD-A18A-55C285B6C2DE}" type="presOf" srcId="{8278A7A1-ABDF-4A67-A988-88B92D8AB45E}" destId="{D9254491-6AFC-4026-9E53-9E0937BB7A3F}" srcOrd="0" destOrd="0" presId="urn:microsoft.com/office/officeart/2005/8/layout/radial6"/>
    <dgm:cxn modelId="{3635F632-767F-4F1C-A5EE-37CD9352B27E}" srcId="{A5BA9ABE-95EB-4B3E-AAE9-E99601FC7BEB}" destId="{6EAB6BBE-BC63-4669-8F9B-C465D440D27B}" srcOrd="0" destOrd="0" parTransId="{CC7B10E9-8E35-40C2-BC4B-FF27947805AE}" sibTransId="{61946D1D-7A50-4D3D-A1E2-E11033C73EAD}"/>
    <dgm:cxn modelId="{5AD25C36-8030-4226-94DC-02A8960DDE6F}" srcId="{6EAB6BBE-BC63-4669-8F9B-C465D440D27B}" destId="{66BCCAB1-5F4A-4456-88A2-93750339D8B5}" srcOrd="4" destOrd="0" parTransId="{4AC0EA2D-B9A0-4A37-BC27-B05AD1AAC1AB}" sibTransId="{EF1DF42F-7DED-4475-ACE5-D4346A9DA199}"/>
    <dgm:cxn modelId="{42ABFD3E-A74A-485F-B2E6-12BB5202C846}" type="presOf" srcId="{0B1F591F-83A8-4C00-9DA7-C60EFDD699AB}" destId="{8467A8D2-9EC7-4644-9A4F-45A6C8F0C117}" srcOrd="0" destOrd="0" presId="urn:microsoft.com/office/officeart/2005/8/layout/radial6"/>
    <dgm:cxn modelId="{28252F6D-D4B1-4DDD-861E-0F80AF2645C7}" type="presOf" srcId="{34DB2546-B367-4356-AAF6-BAFBDD3CF662}" destId="{6B55E269-8471-4306-A252-1AC378145AC9}" srcOrd="0" destOrd="0" presId="urn:microsoft.com/office/officeart/2005/8/layout/radial6"/>
    <dgm:cxn modelId="{08212D4F-45C1-4B90-B016-0A41F2923039}" type="presOf" srcId="{C11838EB-2491-4935-AD3D-29345D9FB13D}" destId="{F8FC4C7A-0475-4140-ADF1-919036BCA4A2}" srcOrd="0" destOrd="0" presId="urn:microsoft.com/office/officeart/2005/8/layout/radial6"/>
    <dgm:cxn modelId="{22E0EA70-33C0-4A4D-981E-26E077089037}" srcId="{6EAB6BBE-BC63-4669-8F9B-C465D440D27B}" destId="{37604385-569C-4F45-B2C5-BC83EE6B03DD}" srcOrd="2" destOrd="0" parTransId="{F49B57AE-0BAC-4977-ADF8-8B4A916FAE40}" sibTransId="{0B1F591F-83A8-4C00-9DA7-C60EFDD699AB}"/>
    <dgm:cxn modelId="{7787CE55-5ECD-4212-AB89-C1F701FD99D6}" srcId="{6EAB6BBE-BC63-4669-8F9B-C465D440D27B}" destId="{B855A441-551B-47D6-8317-77D4B1B482D2}" srcOrd="3" destOrd="0" parTransId="{D86A77A6-AE06-4BCA-AF9F-FBC351FF3F1C}" sibTransId="{BB92154F-BD09-4118-8926-6594FE8EEAA7}"/>
    <dgm:cxn modelId="{B16AA677-7369-4662-B864-71217D0FA458}" type="presOf" srcId="{BB92154F-BD09-4118-8926-6594FE8EEAA7}" destId="{1874E46A-D228-4012-967F-67469A167142}" srcOrd="0" destOrd="0" presId="urn:microsoft.com/office/officeart/2005/8/layout/radial6"/>
    <dgm:cxn modelId="{E64E098B-760D-4A1C-9D12-2C9B034BDF33}" srcId="{6EAB6BBE-BC63-4669-8F9B-C465D440D27B}" destId="{6ABB8511-D735-4275-9FC6-B4CA2CFEA157}" srcOrd="5" destOrd="0" parTransId="{5E8F58C2-E8E6-4D16-A166-AE9D13B7332F}" sibTransId="{8C389558-3BEA-4D16-97B1-94BD1E630ECE}"/>
    <dgm:cxn modelId="{01274193-E794-43CA-B7D8-4C225BA6B7D9}" type="presOf" srcId="{EF1DF42F-7DED-4475-ACE5-D4346A9DA199}" destId="{B8EE0084-7E20-4A4D-9A8A-413A5324F7CA}" srcOrd="0" destOrd="0" presId="urn:microsoft.com/office/officeart/2005/8/layout/radial6"/>
    <dgm:cxn modelId="{1B609E98-C6F9-4768-88C4-240EE4F4E700}" type="presOf" srcId="{6ABB8511-D735-4275-9FC6-B4CA2CFEA157}" destId="{09F7E1C0-B33F-4174-9C41-09D0CA50EE87}" srcOrd="0" destOrd="0" presId="urn:microsoft.com/office/officeart/2005/8/layout/radial6"/>
    <dgm:cxn modelId="{662C7999-4811-4D41-9D53-E985DBB8C981}" type="presOf" srcId="{8C389558-3BEA-4D16-97B1-94BD1E630ECE}" destId="{7064012E-17F3-4FCE-AF6C-BE2FC7B4B741}" srcOrd="0" destOrd="0" presId="urn:microsoft.com/office/officeart/2005/8/layout/radial6"/>
    <dgm:cxn modelId="{6D12DF9B-C023-4AB5-830A-B29A35B2255A}" type="presOf" srcId="{B855A441-551B-47D6-8317-77D4B1B482D2}" destId="{997A9706-0874-49E2-B81B-09C7937E839F}" srcOrd="0" destOrd="0" presId="urn:microsoft.com/office/officeart/2005/8/layout/radial6"/>
    <dgm:cxn modelId="{A396089E-7DA1-45FF-8C0D-1ECB26F94ECB}" srcId="{6EAB6BBE-BC63-4669-8F9B-C465D440D27B}" destId="{34DB2546-B367-4356-AAF6-BAFBDD3CF662}" srcOrd="6" destOrd="0" parTransId="{6BF72EC1-CD68-44C9-ADDC-4C05C09F050C}" sibTransId="{5506B398-C422-4040-AD91-83ABB361D9D8}"/>
    <dgm:cxn modelId="{E5511A9F-D6E4-48CE-8305-AFD526D5328C}" type="presOf" srcId="{66BCCAB1-5F4A-4456-88A2-93750339D8B5}" destId="{05BFB1EF-DBE6-4ED4-A89C-72791D0F9099}" srcOrd="0" destOrd="0" presId="urn:microsoft.com/office/officeart/2005/8/layout/radial6"/>
    <dgm:cxn modelId="{558583B1-23E3-4209-947B-C0929390F30A}" type="presOf" srcId="{37604385-569C-4F45-B2C5-BC83EE6B03DD}" destId="{C9679D84-FC48-4117-8E6C-32302C87ADD3}" srcOrd="0" destOrd="0" presId="urn:microsoft.com/office/officeart/2005/8/layout/radial6"/>
    <dgm:cxn modelId="{C314DFBB-9E77-41F4-BADF-7DF2D6D9B3B5}" type="presOf" srcId="{D92C252D-FD53-420E-BBE7-7FF861469DF7}" destId="{B5441115-4CEB-4150-BC26-7DDFA03819DA}" srcOrd="0" destOrd="0" presId="urn:microsoft.com/office/officeart/2005/8/layout/radial6"/>
    <dgm:cxn modelId="{839301D7-6B37-4C9C-BDDC-5A44626E1CEA}" type="presOf" srcId="{6EAB6BBE-BC63-4669-8F9B-C465D440D27B}" destId="{CC8E4092-B422-4051-B240-BAE80DEA602E}" srcOrd="0" destOrd="0" presId="urn:microsoft.com/office/officeart/2005/8/layout/radial6"/>
    <dgm:cxn modelId="{DB7CAFEA-7126-42AF-8F8F-A756C2FE8FC6}" type="presOf" srcId="{5506B398-C422-4040-AD91-83ABB361D9D8}" destId="{17008029-C141-425F-855A-5D630E1F1FF9}" srcOrd="0" destOrd="0" presId="urn:microsoft.com/office/officeart/2005/8/layout/radial6"/>
    <dgm:cxn modelId="{187260ED-6DBD-434C-B09A-A509027E8B90}" srcId="{6EAB6BBE-BC63-4669-8F9B-C465D440D27B}" destId="{C11838EB-2491-4935-AD3D-29345D9FB13D}" srcOrd="0" destOrd="0" parTransId="{3184445B-0338-4DB3-8C44-0FBC61C09504}" sibTransId="{0AECB00F-EF81-4716-AC2C-CE3B50049686}"/>
    <dgm:cxn modelId="{EC4C31FA-8FD7-4A84-9DA1-FE8AEBFB3B9C}" srcId="{6EAB6BBE-BC63-4669-8F9B-C465D440D27B}" destId="{D92C252D-FD53-420E-BBE7-7FF861469DF7}" srcOrd="1" destOrd="0" parTransId="{CC5D4941-94C2-451A-8609-132F3552F7A1}" sibTransId="{8278A7A1-ABDF-4A67-A988-88B92D8AB45E}"/>
    <dgm:cxn modelId="{5FDFCB2B-1092-4DA5-B83D-864798848A43}" type="presParOf" srcId="{03B367FD-DA17-404A-B8B6-DF6E06A876FD}" destId="{CC8E4092-B422-4051-B240-BAE80DEA602E}" srcOrd="0" destOrd="0" presId="urn:microsoft.com/office/officeart/2005/8/layout/radial6"/>
    <dgm:cxn modelId="{3EE0FB18-35D0-4020-B0AF-72205655C9F6}" type="presParOf" srcId="{03B367FD-DA17-404A-B8B6-DF6E06A876FD}" destId="{F8FC4C7A-0475-4140-ADF1-919036BCA4A2}" srcOrd="1" destOrd="0" presId="urn:microsoft.com/office/officeart/2005/8/layout/radial6"/>
    <dgm:cxn modelId="{F3B06F68-C49B-4874-BC98-E97B64FE405A}" type="presParOf" srcId="{03B367FD-DA17-404A-B8B6-DF6E06A876FD}" destId="{7F9A23DB-3FAE-4554-A3AD-99B00FDCF564}" srcOrd="2" destOrd="0" presId="urn:microsoft.com/office/officeart/2005/8/layout/radial6"/>
    <dgm:cxn modelId="{EF463D01-22C2-431B-A15B-B9161A6E50F0}" type="presParOf" srcId="{03B367FD-DA17-404A-B8B6-DF6E06A876FD}" destId="{0F615195-342D-4D83-BB79-BD25D5DD888D}" srcOrd="3" destOrd="0" presId="urn:microsoft.com/office/officeart/2005/8/layout/radial6"/>
    <dgm:cxn modelId="{D0394F80-C588-40EC-9C57-5BA10DFB58B1}" type="presParOf" srcId="{03B367FD-DA17-404A-B8B6-DF6E06A876FD}" destId="{B5441115-4CEB-4150-BC26-7DDFA03819DA}" srcOrd="4" destOrd="0" presId="urn:microsoft.com/office/officeart/2005/8/layout/radial6"/>
    <dgm:cxn modelId="{252FD949-5FD1-4F35-B049-44593EEC4132}" type="presParOf" srcId="{03B367FD-DA17-404A-B8B6-DF6E06A876FD}" destId="{FBF9EBAA-45A1-4BE5-8A18-ED125C5DE358}" srcOrd="5" destOrd="0" presId="urn:microsoft.com/office/officeart/2005/8/layout/radial6"/>
    <dgm:cxn modelId="{0567B388-7352-4A9E-B7F7-52EE26C465A1}" type="presParOf" srcId="{03B367FD-DA17-404A-B8B6-DF6E06A876FD}" destId="{D9254491-6AFC-4026-9E53-9E0937BB7A3F}" srcOrd="6" destOrd="0" presId="urn:microsoft.com/office/officeart/2005/8/layout/radial6"/>
    <dgm:cxn modelId="{9509F113-4FAD-4B7F-8F1E-30D7BDC34D02}" type="presParOf" srcId="{03B367FD-DA17-404A-B8B6-DF6E06A876FD}" destId="{C9679D84-FC48-4117-8E6C-32302C87ADD3}" srcOrd="7" destOrd="0" presId="urn:microsoft.com/office/officeart/2005/8/layout/radial6"/>
    <dgm:cxn modelId="{908F1A20-E8E9-48B6-A057-C6C6FD5D5A8A}" type="presParOf" srcId="{03B367FD-DA17-404A-B8B6-DF6E06A876FD}" destId="{6B7FD56A-51BC-4D55-B150-86B8546FA54F}" srcOrd="8" destOrd="0" presId="urn:microsoft.com/office/officeart/2005/8/layout/radial6"/>
    <dgm:cxn modelId="{386DFD17-BA0C-4F8C-80B5-A9ED054AAFCF}" type="presParOf" srcId="{03B367FD-DA17-404A-B8B6-DF6E06A876FD}" destId="{8467A8D2-9EC7-4644-9A4F-45A6C8F0C117}" srcOrd="9" destOrd="0" presId="urn:microsoft.com/office/officeart/2005/8/layout/radial6"/>
    <dgm:cxn modelId="{4F8BFA66-4738-4F7B-B11F-1AB3E490B41B}" type="presParOf" srcId="{03B367FD-DA17-404A-B8B6-DF6E06A876FD}" destId="{997A9706-0874-49E2-B81B-09C7937E839F}" srcOrd="10" destOrd="0" presId="urn:microsoft.com/office/officeart/2005/8/layout/radial6"/>
    <dgm:cxn modelId="{D28EF3F3-E7BB-45BF-ABDC-BE5C86412D11}" type="presParOf" srcId="{03B367FD-DA17-404A-B8B6-DF6E06A876FD}" destId="{51C3546F-994C-45E0-88F4-D18B3F129991}" srcOrd="11" destOrd="0" presId="urn:microsoft.com/office/officeart/2005/8/layout/radial6"/>
    <dgm:cxn modelId="{DC052ABE-68DC-41A9-BBE9-F23496BF598F}" type="presParOf" srcId="{03B367FD-DA17-404A-B8B6-DF6E06A876FD}" destId="{1874E46A-D228-4012-967F-67469A167142}" srcOrd="12" destOrd="0" presId="urn:microsoft.com/office/officeart/2005/8/layout/radial6"/>
    <dgm:cxn modelId="{BFE83E9B-E06A-48E0-9765-0797BEAD7A24}" type="presParOf" srcId="{03B367FD-DA17-404A-B8B6-DF6E06A876FD}" destId="{05BFB1EF-DBE6-4ED4-A89C-72791D0F9099}" srcOrd="13" destOrd="0" presId="urn:microsoft.com/office/officeart/2005/8/layout/radial6"/>
    <dgm:cxn modelId="{39890B1D-DB07-4EA7-AE1E-E66697E77E37}" type="presParOf" srcId="{03B367FD-DA17-404A-B8B6-DF6E06A876FD}" destId="{4E602D2A-0DB2-49A5-893C-5A0F743A0B50}" srcOrd="14" destOrd="0" presId="urn:microsoft.com/office/officeart/2005/8/layout/radial6"/>
    <dgm:cxn modelId="{7072D267-A5CE-457B-A96B-3DFF4A447976}" type="presParOf" srcId="{03B367FD-DA17-404A-B8B6-DF6E06A876FD}" destId="{B8EE0084-7E20-4A4D-9A8A-413A5324F7CA}" srcOrd="15" destOrd="0" presId="urn:microsoft.com/office/officeart/2005/8/layout/radial6"/>
    <dgm:cxn modelId="{70E12D6B-FF13-4374-9976-FD09A3F1178E}" type="presParOf" srcId="{03B367FD-DA17-404A-B8B6-DF6E06A876FD}" destId="{09F7E1C0-B33F-4174-9C41-09D0CA50EE87}" srcOrd="16" destOrd="0" presId="urn:microsoft.com/office/officeart/2005/8/layout/radial6"/>
    <dgm:cxn modelId="{BBF6B134-02FF-43FF-9466-749BCE6CB2E9}" type="presParOf" srcId="{03B367FD-DA17-404A-B8B6-DF6E06A876FD}" destId="{E1585328-EFFB-44E8-A9C9-CDBA8CF05098}" srcOrd="17" destOrd="0" presId="urn:microsoft.com/office/officeart/2005/8/layout/radial6"/>
    <dgm:cxn modelId="{D35BF6A3-C938-47BD-9188-556BE465DDB4}" type="presParOf" srcId="{03B367FD-DA17-404A-B8B6-DF6E06A876FD}" destId="{7064012E-17F3-4FCE-AF6C-BE2FC7B4B741}" srcOrd="18" destOrd="0" presId="urn:microsoft.com/office/officeart/2005/8/layout/radial6"/>
    <dgm:cxn modelId="{7402EAF4-B94D-46B0-AC11-EB850B1119E5}" type="presParOf" srcId="{03B367FD-DA17-404A-B8B6-DF6E06A876FD}" destId="{6B55E269-8471-4306-A252-1AC378145AC9}" srcOrd="19" destOrd="0" presId="urn:microsoft.com/office/officeart/2005/8/layout/radial6"/>
    <dgm:cxn modelId="{E8F0B7ED-9589-438A-91DF-BFE3283DDD5A}" type="presParOf" srcId="{03B367FD-DA17-404A-B8B6-DF6E06A876FD}" destId="{218C99E5-5D81-4231-BA38-37BE4C095E28}" srcOrd="20" destOrd="0" presId="urn:microsoft.com/office/officeart/2005/8/layout/radial6"/>
    <dgm:cxn modelId="{E5F32A96-5B37-415E-BEC6-5EAE8E3AE817}" type="presParOf" srcId="{03B367FD-DA17-404A-B8B6-DF6E06A876FD}" destId="{17008029-C141-425F-855A-5D630E1F1FF9}" srcOrd="21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008029-C141-425F-855A-5D630E1F1FF9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13114286"/>
            <a:gd name="adj2" fmla="val 16200000"/>
            <a:gd name="adj3" fmla="val 390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64012E-17F3-4FCE-AF6C-BE2FC7B4B741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10028571"/>
            <a:gd name="adj2" fmla="val 13114286"/>
            <a:gd name="adj3" fmla="val 390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EE0084-7E20-4A4D-9A8A-413A5324F7CA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6942857"/>
            <a:gd name="adj2" fmla="val 10028571"/>
            <a:gd name="adj3" fmla="val 3909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74E46A-D228-4012-967F-67469A167142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3857143"/>
            <a:gd name="adj2" fmla="val 6942857"/>
            <a:gd name="adj3" fmla="val 390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67A8D2-9EC7-4644-9A4F-45A6C8F0C117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771429"/>
            <a:gd name="adj2" fmla="val 3857143"/>
            <a:gd name="adj3" fmla="val 3909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254491-6AFC-4026-9E53-9E0937BB7A3F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19285714"/>
            <a:gd name="adj2" fmla="val 771429"/>
            <a:gd name="adj3" fmla="val 390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615195-342D-4D83-BB79-BD25D5DD888D}">
      <dsp:nvSpPr>
        <dsp:cNvPr id="0" name=""/>
        <dsp:cNvSpPr/>
      </dsp:nvSpPr>
      <dsp:spPr>
        <a:xfrm>
          <a:off x="2329473" y="512926"/>
          <a:ext cx="4054020" cy="4054020"/>
        </a:xfrm>
        <a:prstGeom prst="blockArc">
          <a:avLst>
            <a:gd name="adj1" fmla="val 16200000"/>
            <a:gd name="adj2" fmla="val 19285714"/>
            <a:gd name="adj3" fmla="val 390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8E4092-B422-4051-B240-BAE80DEA602E}">
      <dsp:nvSpPr>
        <dsp:cNvPr id="0" name=""/>
        <dsp:cNvSpPr/>
      </dsp:nvSpPr>
      <dsp:spPr>
        <a:xfrm>
          <a:off x="3570487" y="1753940"/>
          <a:ext cx="1571993" cy="157199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Development team</a:t>
          </a:r>
        </a:p>
      </dsp:txBody>
      <dsp:txXfrm>
        <a:off x="3800700" y="1984153"/>
        <a:ext cx="1111567" cy="1111567"/>
      </dsp:txXfrm>
    </dsp:sp>
    <dsp:sp modelId="{F8FC4C7A-0475-4140-ADF1-919036BCA4A2}">
      <dsp:nvSpPr>
        <dsp:cNvPr id="0" name=""/>
        <dsp:cNvSpPr/>
      </dsp:nvSpPr>
      <dsp:spPr>
        <a:xfrm>
          <a:off x="3806286" y="2342"/>
          <a:ext cx="1100395" cy="110039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Optimisation Specialist</a:t>
          </a:r>
        </a:p>
      </dsp:txBody>
      <dsp:txXfrm>
        <a:off x="3967435" y="163491"/>
        <a:ext cx="778097" cy="778097"/>
      </dsp:txXfrm>
    </dsp:sp>
    <dsp:sp modelId="{B5441115-4CEB-4150-BC26-7DDFA03819DA}">
      <dsp:nvSpPr>
        <dsp:cNvPr id="0" name=""/>
        <dsp:cNvSpPr/>
      </dsp:nvSpPr>
      <dsp:spPr>
        <a:xfrm>
          <a:off x="5360095" y="750617"/>
          <a:ext cx="1100395" cy="110039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Tester</a:t>
          </a:r>
        </a:p>
      </dsp:txBody>
      <dsp:txXfrm>
        <a:off x="5521244" y="911766"/>
        <a:ext cx="778097" cy="778097"/>
      </dsp:txXfrm>
    </dsp:sp>
    <dsp:sp modelId="{C9679D84-FC48-4117-8E6C-32302C87ADD3}">
      <dsp:nvSpPr>
        <dsp:cNvPr id="0" name=""/>
        <dsp:cNvSpPr/>
      </dsp:nvSpPr>
      <dsp:spPr>
        <a:xfrm>
          <a:off x="5743854" y="2431976"/>
          <a:ext cx="1100395" cy="110039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Product Owner</a:t>
          </a:r>
        </a:p>
      </dsp:txBody>
      <dsp:txXfrm>
        <a:off x="5905003" y="2593125"/>
        <a:ext cx="778097" cy="778097"/>
      </dsp:txXfrm>
    </dsp:sp>
    <dsp:sp modelId="{997A9706-0874-49E2-B81B-09C7937E839F}">
      <dsp:nvSpPr>
        <dsp:cNvPr id="0" name=""/>
        <dsp:cNvSpPr/>
      </dsp:nvSpPr>
      <dsp:spPr>
        <a:xfrm>
          <a:off x="4668585" y="3780320"/>
          <a:ext cx="1100395" cy="110039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Developer</a:t>
          </a:r>
        </a:p>
      </dsp:txBody>
      <dsp:txXfrm>
        <a:off x="4829734" y="3941469"/>
        <a:ext cx="778097" cy="778097"/>
      </dsp:txXfrm>
    </dsp:sp>
    <dsp:sp modelId="{05BFB1EF-DBE6-4ED4-A89C-72791D0F9099}">
      <dsp:nvSpPr>
        <dsp:cNvPr id="0" name=""/>
        <dsp:cNvSpPr/>
      </dsp:nvSpPr>
      <dsp:spPr>
        <a:xfrm>
          <a:off x="2943987" y="3780320"/>
          <a:ext cx="1100395" cy="110039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UX Designer</a:t>
          </a:r>
        </a:p>
      </dsp:txBody>
      <dsp:txXfrm>
        <a:off x="3105136" y="3941469"/>
        <a:ext cx="778097" cy="778097"/>
      </dsp:txXfrm>
    </dsp:sp>
    <dsp:sp modelId="{09F7E1C0-B33F-4174-9C41-09D0CA50EE87}">
      <dsp:nvSpPr>
        <dsp:cNvPr id="0" name=""/>
        <dsp:cNvSpPr/>
      </dsp:nvSpPr>
      <dsp:spPr>
        <a:xfrm>
          <a:off x="1868718" y="2431976"/>
          <a:ext cx="1100395" cy="110039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/>
            <a:t>Customer Support Specialist</a:t>
          </a:r>
        </a:p>
      </dsp:txBody>
      <dsp:txXfrm>
        <a:off x="2029867" y="2593125"/>
        <a:ext cx="778097" cy="778097"/>
      </dsp:txXfrm>
    </dsp:sp>
    <dsp:sp modelId="{6B55E269-8471-4306-A252-1AC378145AC9}">
      <dsp:nvSpPr>
        <dsp:cNvPr id="0" name=""/>
        <dsp:cNvSpPr/>
      </dsp:nvSpPr>
      <dsp:spPr>
        <a:xfrm>
          <a:off x="2252477" y="750617"/>
          <a:ext cx="1100395" cy="110039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Customer</a:t>
          </a:r>
          <a:endParaRPr lang="en-GB" sz="1100" kern="1200" dirty="0"/>
        </a:p>
      </dsp:txBody>
      <dsp:txXfrm>
        <a:off x="2413626" y="911766"/>
        <a:ext cx="778097" cy="7780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452" y="0"/>
            <a:ext cx="2949575" cy="496888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CEC57917-1F0F-4804-94DB-D65472848955}" type="datetimeFigureOut">
              <a:rPr lang="fi-FI" smtClean="0"/>
              <a:t>2.9.2021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40" y="4721225"/>
            <a:ext cx="5443537" cy="4471988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865"/>
            <a:ext cx="2949575" cy="496887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452" y="9440865"/>
            <a:ext cx="2949575" cy="496887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FC082CCA-C867-480E-8152-BED73717FD2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56872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3"/>
            <a:ext cx="10521696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/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4464758" y="1136829"/>
            <a:ext cx="3104444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9"/>
            <a:ext cx="105156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5816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963084" y="4643447"/>
            <a:ext cx="10363200" cy="785818"/>
          </a:xfrm>
          <a:prstGeom prst="rect">
            <a:avLst/>
          </a:prstGeom>
        </p:spPr>
        <p:txBody>
          <a:bodyPr anchor="t"/>
          <a:lstStyle>
            <a:lvl1pPr algn="ctr">
              <a:defRPr sz="4000" b="0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63084" y="5429264"/>
            <a:ext cx="10363200" cy="406396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>
                <a:solidFill>
                  <a:srgbClr val="00B0F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609601" y="6356353"/>
            <a:ext cx="1261931" cy="365125"/>
          </a:xfrm>
          <a:prstGeom prst="rect">
            <a:avLst/>
          </a:prstGeom>
        </p:spPr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2063553" y="6356353"/>
            <a:ext cx="672075" cy="365125"/>
          </a:xfrm>
          <a:prstGeom prst="rect">
            <a:avLst/>
          </a:prstGeom>
        </p:spPr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698536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5190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963084" y="4643447"/>
            <a:ext cx="10363200" cy="785818"/>
          </a:xfrm>
          <a:prstGeom prst="rect">
            <a:avLst/>
          </a:prstGeom>
        </p:spPr>
        <p:txBody>
          <a:bodyPr anchor="t"/>
          <a:lstStyle>
            <a:lvl1pPr algn="ctr">
              <a:defRPr sz="4000" b="0" cap="all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63084" y="5429264"/>
            <a:ext cx="10363200" cy="406396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>
                <a:solidFill>
                  <a:srgbClr val="00B0F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729294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609601" y="6356353"/>
            <a:ext cx="1261931" cy="365125"/>
          </a:xfrm>
          <a:prstGeom prst="rect">
            <a:avLst/>
          </a:prstGeom>
        </p:spPr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2063553" y="6356353"/>
            <a:ext cx="672075" cy="365125"/>
          </a:xfrm>
          <a:prstGeom prst="rect">
            <a:avLst/>
          </a:prstGeom>
        </p:spPr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14516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.png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orakulmio 6"/>
          <p:cNvSpPr/>
          <p:nvPr/>
        </p:nvSpPr>
        <p:spPr>
          <a:xfrm>
            <a:off x="1" y="6143644"/>
            <a:ext cx="12192043" cy="720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609601" y="6356353"/>
            <a:ext cx="12619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B0F0"/>
                </a:solidFill>
              </a:defRPr>
            </a:lvl1pPr>
          </a:lstStyle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2063553" y="6356353"/>
            <a:ext cx="672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B0F0"/>
                </a:solidFill>
              </a:defRPr>
            </a:lvl1pPr>
          </a:lstStyle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Suorakulmio 8"/>
          <p:cNvSpPr/>
          <p:nvPr/>
        </p:nvSpPr>
        <p:spPr>
          <a:xfrm flipV="1">
            <a:off x="0" y="0"/>
            <a:ext cx="12192000" cy="28572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10" name="Suorakulmio 9"/>
          <p:cNvSpPr/>
          <p:nvPr/>
        </p:nvSpPr>
        <p:spPr>
          <a:xfrm flipV="1">
            <a:off x="6096000" y="0"/>
            <a:ext cx="6096000" cy="285728"/>
          </a:xfrm>
          <a:prstGeom prst="rect">
            <a:avLst/>
          </a:prstGeom>
          <a:solidFill>
            <a:srgbClr val="103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>
              <a:solidFill>
                <a:srgbClr val="174487"/>
              </a:solidFill>
            </a:endParaRPr>
          </a:p>
        </p:txBody>
      </p:sp>
      <p:pic>
        <p:nvPicPr>
          <p:cNvPr id="12" name="Kuva 11" descr="Procomp_whitenewlogo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6298564"/>
            <a:ext cx="2423592" cy="4428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000" b="1" kern="1200">
          <a:solidFill>
            <a:srgbClr val="5C5747"/>
          </a:solidFill>
          <a:latin typeface="Calibri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32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orakulmio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7" name="Suorakulmio 6"/>
          <p:cNvSpPr/>
          <p:nvPr/>
        </p:nvSpPr>
        <p:spPr>
          <a:xfrm>
            <a:off x="43" y="6143644"/>
            <a:ext cx="12192000" cy="720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609601" y="6356353"/>
            <a:ext cx="12619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B0F0"/>
                </a:solidFill>
              </a:defRPr>
            </a:lvl1pPr>
          </a:lstStyle>
          <a:p>
            <a:fld id="{BF2C518B-40B5-41B0-AF76-D44615EB969B}" type="datetimeFigureOut">
              <a:rPr lang="fi-FI" smtClean="0"/>
              <a:pPr/>
              <a:t>2.9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2017080" y="6356353"/>
            <a:ext cx="13906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B0F0"/>
                </a:solidFill>
              </a:defRPr>
            </a:lvl1pPr>
          </a:lstStyle>
          <a:p>
            <a:fld id="{8F98E809-3CCB-4600-B349-DCAB13AF719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Suorakulmio 8"/>
          <p:cNvSpPr/>
          <p:nvPr/>
        </p:nvSpPr>
        <p:spPr>
          <a:xfrm flipV="1">
            <a:off x="0" y="0"/>
            <a:ext cx="12192000" cy="28572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10" name="Suorakulmio 9"/>
          <p:cNvSpPr/>
          <p:nvPr/>
        </p:nvSpPr>
        <p:spPr>
          <a:xfrm flipV="1">
            <a:off x="6096000" y="0"/>
            <a:ext cx="6096000" cy="285728"/>
          </a:xfrm>
          <a:prstGeom prst="rect">
            <a:avLst/>
          </a:prstGeom>
          <a:solidFill>
            <a:srgbClr val="103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>
              <a:solidFill>
                <a:srgbClr val="174487"/>
              </a:solidFill>
            </a:endParaRPr>
          </a:p>
        </p:txBody>
      </p:sp>
      <p:pic>
        <p:nvPicPr>
          <p:cNvPr id="18" name="Kuva 17" descr="Procomp_whitenewlogo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6298564"/>
            <a:ext cx="2423592" cy="4428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000" b="1" kern="1200">
          <a:solidFill>
            <a:schemeClr val="bg1"/>
          </a:solidFill>
          <a:latin typeface="Calibri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orakulmio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7" name="Suorakulmio 6"/>
          <p:cNvSpPr/>
          <p:nvPr/>
        </p:nvSpPr>
        <p:spPr>
          <a:xfrm>
            <a:off x="43" y="6143644"/>
            <a:ext cx="12192000" cy="720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9" name="Suorakulmio 8"/>
          <p:cNvSpPr/>
          <p:nvPr/>
        </p:nvSpPr>
        <p:spPr>
          <a:xfrm flipV="1">
            <a:off x="0" y="0"/>
            <a:ext cx="12192000" cy="28572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10" name="Suorakulmio 9"/>
          <p:cNvSpPr/>
          <p:nvPr/>
        </p:nvSpPr>
        <p:spPr>
          <a:xfrm flipV="1">
            <a:off x="6096000" y="0"/>
            <a:ext cx="6096000" cy="285728"/>
          </a:xfrm>
          <a:prstGeom prst="rect">
            <a:avLst/>
          </a:prstGeom>
          <a:solidFill>
            <a:srgbClr val="103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>
              <a:solidFill>
                <a:srgbClr val="174487"/>
              </a:solidFill>
            </a:endParaRPr>
          </a:p>
        </p:txBody>
      </p:sp>
      <p:pic>
        <p:nvPicPr>
          <p:cNvPr id="13" name="Kuva 12" descr="Procomp_whitenewlogo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342" y="2835580"/>
            <a:ext cx="6144002" cy="1241495"/>
          </a:xfrm>
          <a:prstGeom prst="rect">
            <a:avLst/>
          </a:prstGeom>
          <a:effectLst>
            <a:outerShdw blurRad="76200" dist="76200" dir="12600000" algn="br" rotWithShape="0">
              <a:prstClr val="black">
                <a:alpha val="30000"/>
              </a:prst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5" r:id="rId2"/>
    <p:sldLayoutId id="2147483682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000" b="1" kern="1200">
          <a:solidFill>
            <a:schemeClr val="bg1"/>
          </a:solidFill>
          <a:latin typeface="Calibri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orakulmio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7" name="Suorakulmio 6"/>
          <p:cNvSpPr/>
          <p:nvPr/>
        </p:nvSpPr>
        <p:spPr>
          <a:xfrm>
            <a:off x="43" y="6143644"/>
            <a:ext cx="12192000" cy="720000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10327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9" name="Suorakulmio 8"/>
          <p:cNvSpPr/>
          <p:nvPr/>
        </p:nvSpPr>
        <p:spPr>
          <a:xfrm flipV="1">
            <a:off x="0" y="0"/>
            <a:ext cx="12192000" cy="28572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sp>
        <p:nvSpPr>
          <p:cNvPr id="10" name="Suorakulmio 9"/>
          <p:cNvSpPr/>
          <p:nvPr/>
        </p:nvSpPr>
        <p:spPr>
          <a:xfrm flipV="1">
            <a:off x="6096000" y="0"/>
            <a:ext cx="6096000" cy="285728"/>
          </a:xfrm>
          <a:prstGeom prst="rect">
            <a:avLst/>
          </a:prstGeom>
          <a:solidFill>
            <a:srgbClr val="103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>
              <a:solidFill>
                <a:srgbClr val="174487"/>
              </a:solidFill>
            </a:endParaRPr>
          </a:p>
        </p:txBody>
      </p:sp>
      <p:pic>
        <p:nvPicPr>
          <p:cNvPr id="14" name="Kuva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7907" y="2371442"/>
            <a:ext cx="7384872" cy="1974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981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000" b="1" kern="1200">
          <a:solidFill>
            <a:schemeClr val="bg1"/>
          </a:solidFill>
          <a:latin typeface="Calibri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B0F0"/>
        </a:buClr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97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 err="1"/>
              <a:t>Procomp</a:t>
            </a:r>
            <a:r>
              <a:rPr lang="en-GB" sz="3600" dirty="0"/>
              <a:t> roles in Development Team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7C2F778-F09F-4D1B-A2B6-7A4F134CF9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2066790"/>
              </p:ext>
            </p:extLst>
          </p:nvPr>
        </p:nvGraphicFramePr>
        <p:xfrm>
          <a:off x="1991544" y="1138229"/>
          <a:ext cx="8712968" cy="48830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49094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9EA2DA1-EFB7-4095-92A1-1A3E03F9F8D9}"/>
              </a:ext>
            </a:extLst>
          </p:cNvPr>
          <p:cNvCxnSpPr>
            <a:cxnSpLocks/>
          </p:cNvCxnSpPr>
          <p:nvPr/>
        </p:nvCxnSpPr>
        <p:spPr>
          <a:xfrm>
            <a:off x="2479384" y="1556792"/>
            <a:ext cx="0" cy="34474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/>
              <a:t>Role Optimisation Specialist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8EFF1F-4620-4DA0-B8E9-D2CEA00CC1D4}"/>
              </a:ext>
            </a:extLst>
          </p:cNvPr>
          <p:cNvSpPr/>
          <p:nvPr/>
        </p:nvSpPr>
        <p:spPr>
          <a:xfrm>
            <a:off x="695400" y="1802808"/>
            <a:ext cx="5982586" cy="1276976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GB" b="1" dirty="0">
                <a:solidFill>
                  <a:schemeClr val="bg1">
                    <a:lumMod val="95000"/>
                  </a:schemeClr>
                </a:solidFill>
              </a:rPr>
              <a:t>Optimisation Specialis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1C5F5A-E314-410D-93A7-052E1F21DF2E}"/>
              </a:ext>
            </a:extLst>
          </p:cNvPr>
          <p:cNvSpPr txBox="1"/>
          <p:nvPr/>
        </p:nvSpPr>
        <p:spPr>
          <a:xfrm>
            <a:off x="7746745" y="1515333"/>
            <a:ext cx="397423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(Senior) Business per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Significant knowledge and understanding of the business dom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Clarifies business and product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Maps / contributes to Business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Collaborates with clinical and policy expert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D72B9D-8A07-46CD-932E-EAA15689F7B2}"/>
              </a:ext>
            </a:extLst>
          </p:cNvPr>
          <p:cNvSpPr/>
          <p:nvPr/>
        </p:nvSpPr>
        <p:spPr>
          <a:xfrm>
            <a:off x="782193" y="2238300"/>
            <a:ext cx="1160388" cy="64523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ommunication &amp; negotiation skill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682C644-82B7-4ADE-B7C4-8063A839AC31}"/>
              </a:ext>
            </a:extLst>
          </p:cNvPr>
          <p:cNvSpPr/>
          <p:nvPr/>
        </p:nvSpPr>
        <p:spPr>
          <a:xfrm>
            <a:off x="2018464" y="2257621"/>
            <a:ext cx="1073599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Collaboration skill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794B825-E767-4BB4-8E05-BE2110F97AB4}"/>
              </a:ext>
            </a:extLst>
          </p:cNvPr>
          <p:cNvSpPr/>
          <p:nvPr/>
        </p:nvSpPr>
        <p:spPr>
          <a:xfrm>
            <a:off x="2788033" y="2963557"/>
            <a:ext cx="864096" cy="2040666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Business Domain Knowledg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16FF3D3-E251-4100-BDA2-CD7278850D0C}"/>
              </a:ext>
            </a:extLst>
          </p:cNvPr>
          <p:cNvSpPr/>
          <p:nvPr/>
        </p:nvSpPr>
        <p:spPr>
          <a:xfrm>
            <a:off x="3672359" y="2963556"/>
            <a:ext cx="864096" cy="2040665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Research  skills &amp; tool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4F1691-537D-407F-9FEE-E71B0BD81EB4}"/>
              </a:ext>
            </a:extLst>
          </p:cNvPr>
          <p:cNvSpPr/>
          <p:nvPr/>
        </p:nvSpPr>
        <p:spPr>
          <a:xfrm>
            <a:off x="4435960" y="2243878"/>
            <a:ext cx="915577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>
                    <a:lumMod val="95000"/>
                  </a:schemeClr>
                </a:solidFill>
              </a:rPr>
              <a:t>Knowledge of business situatio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149082-967A-4C39-8018-F1A5A136A801}"/>
              </a:ext>
            </a:extLst>
          </p:cNvPr>
          <p:cNvSpPr/>
          <p:nvPr/>
        </p:nvSpPr>
        <p:spPr>
          <a:xfrm>
            <a:off x="5508310" y="2249456"/>
            <a:ext cx="1023805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Commercial awarenes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AA719CD-8920-4FAF-8FC0-EE25F9ECE5F1}"/>
              </a:ext>
            </a:extLst>
          </p:cNvPr>
          <p:cNvSpPr/>
          <p:nvPr/>
        </p:nvSpPr>
        <p:spPr>
          <a:xfrm>
            <a:off x="3220081" y="2249456"/>
            <a:ext cx="1073599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Functional knowledge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55F85AB-C8D6-45EC-B852-74FD457FD24F}"/>
              </a:ext>
            </a:extLst>
          </p:cNvPr>
          <p:cNvCxnSpPr/>
          <p:nvPr/>
        </p:nvCxnSpPr>
        <p:spPr>
          <a:xfrm>
            <a:off x="695400" y="1556792"/>
            <a:ext cx="59766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149035B-FAEF-4284-AEEB-54AA8BBDDC5A}"/>
              </a:ext>
            </a:extLst>
          </p:cNvPr>
          <p:cNvSpPr txBox="1"/>
          <p:nvPr/>
        </p:nvSpPr>
        <p:spPr>
          <a:xfrm>
            <a:off x="3092063" y="1332971"/>
            <a:ext cx="1183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schemeClr val="accent2">
                    <a:lumMod val="50000"/>
                  </a:schemeClr>
                </a:solidFill>
              </a:rPr>
              <a:t>Broad knowled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7296E2-62AE-497C-B110-DF60D3DC8C77}"/>
              </a:ext>
            </a:extLst>
          </p:cNvPr>
          <p:cNvSpPr txBox="1"/>
          <p:nvPr/>
        </p:nvSpPr>
        <p:spPr>
          <a:xfrm rot="16200000">
            <a:off x="1710092" y="3731176"/>
            <a:ext cx="1276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accent2">
                    <a:lumMod val="50000"/>
                  </a:schemeClr>
                </a:solidFill>
              </a:rPr>
              <a:t>Deep expertise</a:t>
            </a:r>
          </a:p>
        </p:txBody>
      </p:sp>
    </p:spTree>
    <p:extLst>
      <p:ext uri="{BB962C8B-B14F-4D97-AF65-F5344CB8AC3E}">
        <p14:creationId xmlns:p14="http://schemas.microsoft.com/office/powerpoint/2010/main" val="13851826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9EA2DA1-EFB7-4095-92A1-1A3E03F9F8D9}"/>
              </a:ext>
            </a:extLst>
          </p:cNvPr>
          <p:cNvCxnSpPr>
            <a:cxnSpLocks/>
          </p:cNvCxnSpPr>
          <p:nvPr/>
        </p:nvCxnSpPr>
        <p:spPr>
          <a:xfrm>
            <a:off x="2325212" y="1564296"/>
            <a:ext cx="0" cy="34474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/>
              <a:t>Role UX Designe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8EFF1F-4620-4DA0-B8E9-D2CEA00CC1D4}"/>
              </a:ext>
            </a:extLst>
          </p:cNvPr>
          <p:cNvSpPr/>
          <p:nvPr/>
        </p:nvSpPr>
        <p:spPr>
          <a:xfrm>
            <a:off x="695400" y="1802808"/>
            <a:ext cx="5982586" cy="1276976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b="1" dirty="0">
                <a:solidFill>
                  <a:schemeClr val="bg1">
                    <a:lumMod val="95000"/>
                  </a:schemeClr>
                </a:solidFill>
              </a:rPr>
              <a:t>UX Design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1C5F5A-E314-410D-93A7-052E1F21DF2E}"/>
              </a:ext>
            </a:extLst>
          </p:cNvPr>
          <p:cNvSpPr txBox="1"/>
          <p:nvPr/>
        </p:nvSpPr>
        <p:spPr>
          <a:xfrm>
            <a:off x="7746745" y="1515333"/>
            <a:ext cx="397423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</a:rPr>
              <a:t>Carries out user research &amp; creates models and documentation</a:t>
            </a:r>
          </a:p>
          <a:p>
            <a:endParaRPr lang="en-GB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</a:rPr>
              <a:t>Analyses and explores o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</a:rPr>
              <a:t>Maps user journeys and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</a:rPr>
              <a:t>Creates wireframe mock-ups and proto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</a:rPr>
              <a:t>Runs qualitative usability t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D72B9D-8A07-46CD-932E-EAA15689F7B2}"/>
              </a:ext>
            </a:extLst>
          </p:cNvPr>
          <p:cNvSpPr/>
          <p:nvPr/>
        </p:nvSpPr>
        <p:spPr>
          <a:xfrm>
            <a:off x="782193" y="2238300"/>
            <a:ext cx="1160388" cy="645238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ollaborative skills &amp; User empath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682C644-82B7-4ADE-B7C4-8063A839AC31}"/>
              </a:ext>
            </a:extLst>
          </p:cNvPr>
          <p:cNvSpPr/>
          <p:nvPr/>
        </p:nvSpPr>
        <p:spPr>
          <a:xfrm>
            <a:off x="2018464" y="2257621"/>
            <a:ext cx="1073599" cy="63408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User research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794B825-E767-4BB4-8E05-BE2110F97AB4}"/>
              </a:ext>
            </a:extLst>
          </p:cNvPr>
          <p:cNvSpPr/>
          <p:nvPr/>
        </p:nvSpPr>
        <p:spPr>
          <a:xfrm>
            <a:off x="2477404" y="2963557"/>
            <a:ext cx="1174725" cy="2040666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UI Prototyping and wirefram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16FF3D3-E251-4100-BDA2-CD7278850D0C}"/>
              </a:ext>
            </a:extLst>
          </p:cNvPr>
          <p:cNvSpPr/>
          <p:nvPr/>
        </p:nvSpPr>
        <p:spPr>
          <a:xfrm>
            <a:off x="3672358" y="2963556"/>
            <a:ext cx="1174725" cy="2040665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Visual communica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4F1691-537D-407F-9FEE-E71B0BD81EB4}"/>
              </a:ext>
            </a:extLst>
          </p:cNvPr>
          <p:cNvSpPr/>
          <p:nvPr/>
        </p:nvSpPr>
        <p:spPr>
          <a:xfrm>
            <a:off x="4259720" y="2243878"/>
            <a:ext cx="1174727" cy="63408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>
                    <a:lumMod val="95000"/>
                  </a:schemeClr>
                </a:solidFill>
              </a:rPr>
              <a:t>Understanding of the proces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149082-967A-4C39-8018-F1A5A136A801}"/>
              </a:ext>
            </a:extLst>
          </p:cNvPr>
          <p:cNvSpPr/>
          <p:nvPr/>
        </p:nvSpPr>
        <p:spPr>
          <a:xfrm>
            <a:off x="5508310" y="2249456"/>
            <a:ext cx="1023805" cy="63408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Analytical skill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AA719CD-8920-4FAF-8FC0-EE25F9ECE5F1}"/>
              </a:ext>
            </a:extLst>
          </p:cNvPr>
          <p:cNvSpPr/>
          <p:nvPr/>
        </p:nvSpPr>
        <p:spPr>
          <a:xfrm>
            <a:off x="3158162" y="2257621"/>
            <a:ext cx="1073599" cy="63408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Data analysi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55F85AB-C8D6-45EC-B852-74FD457FD24F}"/>
              </a:ext>
            </a:extLst>
          </p:cNvPr>
          <p:cNvCxnSpPr/>
          <p:nvPr/>
        </p:nvCxnSpPr>
        <p:spPr>
          <a:xfrm>
            <a:off x="695400" y="1556792"/>
            <a:ext cx="59766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149035B-FAEF-4284-AEEB-54AA8BBDDC5A}"/>
              </a:ext>
            </a:extLst>
          </p:cNvPr>
          <p:cNvSpPr txBox="1"/>
          <p:nvPr/>
        </p:nvSpPr>
        <p:spPr>
          <a:xfrm>
            <a:off x="3092063" y="1332971"/>
            <a:ext cx="1183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schemeClr val="accent6">
                    <a:lumMod val="75000"/>
                  </a:schemeClr>
                </a:solidFill>
              </a:rPr>
              <a:t>Broad knowled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7296E2-62AE-497C-B110-DF60D3DC8C77}"/>
              </a:ext>
            </a:extLst>
          </p:cNvPr>
          <p:cNvSpPr txBox="1"/>
          <p:nvPr/>
        </p:nvSpPr>
        <p:spPr>
          <a:xfrm rot="16200000">
            <a:off x="1555920" y="3738680"/>
            <a:ext cx="1276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accent6">
                    <a:lumMod val="75000"/>
                  </a:schemeClr>
                </a:solidFill>
              </a:rPr>
              <a:t>Deep expertise</a:t>
            </a:r>
          </a:p>
        </p:txBody>
      </p:sp>
    </p:spTree>
    <p:extLst>
      <p:ext uri="{BB962C8B-B14F-4D97-AF65-F5344CB8AC3E}">
        <p14:creationId xmlns:p14="http://schemas.microsoft.com/office/powerpoint/2010/main" val="1360929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8C7982-9175-476A-9564-901F9BE17713}"/>
              </a:ext>
            </a:extLst>
          </p:cNvPr>
          <p:cNvCxnSpPr>
            <a:cxnSpLocks/>
          </p:cNvCxnSpPr>
          <p:nvPr/>
        </p:nvCxnSpPr>
        <p:spPr>
          <a:xfrm>
            <a:off x="2355126" y="1484784"/>
            <a:ext cx="0" cy="36325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/>
              <a:t>Role Product Owne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8EFF1F-4620-4DA0-B8E9-D2CEA00CC1D4}"/>
              </a:ext>
            </a:extLst>
          </p:cNvPr>
          <p:cNvSpPr/>
          <p:nvPr/>
        </p:nvSpPr>
        <p:spPr>
          <a:xfrm>
            <a:off x="571142" y="1719087"/>
            <a:ext cx="5982586" cy="1276976"/>
          </a:xfrm>
          <a:prstGeom prst="round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/>
              <a:t>Product Owner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1C5F5A-E314-410D-93A7-052E1F21DF2E}"/>
              </a:ext>
            </a:extLst>
          </p:cNvPr>
          <p:cNvSpPr txBox="1"/>
          <p:nvPr/>
        </p:nvSpPr>
        <p:spPr>
          <a:xfrm>
            <a:off x="7646626" y="1381287"/>
            <a:ext cx="397423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4">
                    <a:lumMod val="50000"/>
                  </a:schemeClr>
                </a:solidFill>
              </a:rPr>
              <a:t>Plays a central role in the development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4">
                    <a:lumMod val="50000"/>
                  </a:schemeClr>
                </a:solidFill>
              </a:rPr>
              <a:t>Curates new id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4">
                    <a:lumMod val="50000"/>
                  </a:schemeClr>
                </a:solidFill>
              </a:rPr>
              <a:t>Plans upcoming rele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4">
                    <a:lumMod val="50000"/>
                  </a:schemeClr>
                </a:solidFill>
              </a:rPr>
              <a:t>Refines acceptance crite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4">
                    <a:lumMod val="50000"/>
                  </a:schemeClr>
                </a:solidFill>
              </a:rPr>
              <a:t>Deleg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4">
                    <a:lumMod val="50000"/>
                  </a:schemeClr>
                </a:solidFill>
              </a:rPr>
              <a:t>Priorit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D72B9D-8A07-46CD-932E-EAA15689F7B2}"/>
              </a:ext>
            </a:extLst>
          </p:cNvPr>
          <p:cNvSpPr/>
          <p:nvPr/>
        </p:nvSpPr>
        <p:spPr>
          <a:xfrm>
            <a:off x="657935" y="2154579"/>
            <a:ext cx="1121574" cy="64523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ommunication &amp; collabor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682C644-82B7-4ADE-B7C4-8063A839AC31}"/>
              </a:ext>
            </a:extLst>
          </p:cNvPr>
          <p:cNvSpPr/>
          <p:nvPr/>
        </p:nvSpPr>
        <p:spPr>
          <a:xfrm>
            <a:off x="1866691" y="2155850"/>
            <a:ext cx="1073599" cy="63408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Iterative developmen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794B825-E767-4BB4-8E05-BE2110F97AB4}"/>
              </a:ext>
            </a:extLst>
          </p:cNvPr>
          <p:cNvSpPr/>
          <p:nvPr/>
        </p:nvSpPr>
        <p:spPr>
          <a:xfrm>
            <a:off x="2598926" y="2884602"/>
            <a:ext cx="928945" cy="223275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Solution Architectur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16FF3D3-E251-4100-BDA2-CD7278850D0C}"/>
              </a:ext>
            </a:extLst>
          </p:cNvPr>
          <p:cNvSpPr/>
          <p:nvPr/>
        </p:nvSpPr>
        <p:spPr>
          <a:xfrm>
            <a:off x="3545177" y="2884136"/>
            <a:ext cx="864096" cy="223322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Long term interests and technical vie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4F1691-537D-407F-9FEE-E71B0BD81EB4}"/>
              </a:ext>
            </a:extLst>
          </p:cNvPr>
          <p:cNvSpPr/>
          <p:nvPr/>
        </p:nvSpPr>
        <p:spPr>
          <a:xfrm>
            <a:off x="4373319" y="2154579"/>
            <a:ext cx="864096" cy="63408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Analytical skill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149082-967A-4C39-8018-F1A5A136A801}"/>
              </a:ext>
            </a:extLst>
          </p:cNvPr>
          <p:cNvSpPr/>
          <p:nvPr/>
        </p:nvSpPr>
        <p:spPr>
          <a:xfrm>
            <a:off x="5452254" y="2165735"/>
            <a:ext cx="974890" cy="63408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Decision mak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AA719CD-8920-4FAF-8FC0-EE25F9ECE5F1}"/>
              </a:ext>
            </a:extLst>
          </p:cNvPr>
          <p:cNvSpPr/>
          <p:nvPr/>
        </p:nvSpPr>
        <p:spPr>
          <a:xfrm>
            <a:off x="3095823" y="2165735"/>
            <a:ext cx="1073599" cy="634082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Data quality and product safety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C15005A-DD6F-4941-9FB4-C7908FB078C0}"/>
              </a:ext>
            </a:extLst>
          </p:cNvPr>
          <p:cNvCxnSpPr/>
          <p:nvPr/>
        </p:nvCxnSpPr>
        <p:spPr>
          <a:xfrm>
            <a:off x="571142" y="1484784"/>
            <a:ext cx="59766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FD9F3B3-368A-46B2-B927-BE403E7177D3}"/>
              </a:ext>
            </a:extLst>
          </p:cNvPr>
          <p:cNvSpPr txBox="1"/>
          <p:nvPr/>
        </p:nvSpPr>
        <p:spPr>
          <a:xfrm>
            <a:off x="2970790" y="1250482"/>
            <a:ext cx="1183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schemeClr val="accent4">
                    <a:lumMod val="50000"/>
                  </a:schemeClr>
                </a:solidFill>
              </a:rPr>
              <a:t>Broad knowledg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098953-F839-4914-A0D5-CFD686205258}"/>
              </a:ext>
            </a:extLst>
          </p:cNvPr>
          <p:cNvSpPr txBox="1"/>
          <p:nvPr/>
        </p:nvSpPr>
        <p:spPr>
          <a:xfrm rot="16200000">
            <a:off x="1568023" y="3844311"/>
            <a:ext cx="1276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accent4">
                    <a:lumMod val="50000"/>
                  </a:schemeClr>
                </a:solidFill>
              </a:rPr>
              <a:t>Deep expertise</a:t>
            </a:r>
          </a:p>
        </p:txBody>
      </p:sp>
    </p:spTree>
    <p:extLst>
      <p:ext uri="{BB962C8B-B14F-4D97-AF65-F5344CB8AC3E}">
        <p14:creationId xmlns:p14="http://schemas.microsoft.com/office/powerpoint/2010/main" val="1490039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A97695E-5CEC-4CC7-81FB-286EA18CBBAC}"/>
              </a:ext>
            </a:extLst>
          </p:cNvPr>
          <p:cNvCxnSpPr/>
          <p:nvPr/>
        </p:nvCxnSpPr>
        <p:spPr>
          <a:xfrm>
            <a:off x="2310907" y="1606305"/>
            <a:ext cx="0" cy="35614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5C4E130-7177-4DF4-8DAE-134AC1FE0AE1}"/>
              </a:ext>
            </a:extLst>
          </p:cNvPr>
          <p:cNvSpPr txBox="1"/>
          <p:nvPr/>
        </p:nvSpPr>
        <p:spPr>
          <a:xfrm rot="16200000">
            <a:off x="1541615" y="3894713"/>
            <a:ext cx="1276975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accent1">
                    <a:lumMod val="50000"/>
                  </a:schemeClr>
                </a:solidFill>
              </a:rPr>
              <a:t>Deep experti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/>
              <a:t>Role Develope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8EFF1F-4620-4DA0-B8E9-D2CEA00CC1D4}"/>
              </a:ext>
            </a:extLst>
          </p:cNvPr>
          <p:cNvSpPr/>
          <p:nvPr/>
        </p:nvSpPr>
        <p:spPr>
          <a:xfrm>
            <a:off x="619847" y="1769489"/>
            <a:ext cx="5982586" cy="127697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dirty="0"/>
              <a:t>Develop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1C5F5A-E314-410D-93A7-052E1F21DF2E}"/>
              </a:ext>
            </a:extLst>
          </p:cNvPr>
          <p:cNvSpPr txBox="1"/>
          <p:nvPr/>
        </p:nvSpPr>
        <p:spPr>
          <a:xfrm>
            <a:off x="7608168" y="1524685"/>
            <a:ext cx="397423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Interprets business requirements and translates them into a deployable 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Tests the developed function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Builds a new version and releases 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Collaborates with the team, contributes to UI desig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D92E747-9681-4295-9428-C63F40DBA549}"/>
              </a:ext>
            </a:extLst>
          </p:cNvPr>
          <p:cNvSpPr/>
          <p:nvPr/>
        </p:nvSpPr>
        <p:spPr>
          <a:xfrm>
            <a:off x="2624225" y="2903934"/>
            <a:ext cx="995487" cy="231754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Development of solu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D72B9D-8A07-46CD-932E-EAA15689F7B2}"/>
              </a:ext>
            </a:extLst>
          </p:cNvPr>
          <p:cNvSpPr/>
          <p:nvPr/>
        </p:nvSpPr>
        <p:spPr>
          <a:xfrm>
            <a:off x="706640" y="2204981"/>
            <a:ext cx="1073599" cy="6452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Mathematical aptitud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682C644-82B7-4ADE-B7C4-8063A839AC31}"/>
              </a:ext>
            </a:extLst>
          </p:cNvPr>
          <p:cNvSpPr/>
          <p:nvPr/>
        </p:nvSpPr>
        <p:spPr>
          <a:xfrm>
            <a:off x="1903264" y="2216137"/>
            <a:ext cx="1073599" cy="63408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System and UI desig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4F1691-537D-407F-9FEE-E71B0BD81EB4}"/>
              </a:ext>
            </a:extLst>
          </p:cNvPr>
          <p:cNvSpPr/>
          <p:nvPr/>
        </p:nvSpPr>
        <p:spPr>
          <a:xfrm>
            <a:off x="4465340" y="2216137"/>
            <a:ext cx="944940" cy="63408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Accuracy &amp; attention to detail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149082-967A-4C39-8018-F1A5A136A801}"/>
              </a:ext>
            </a:extLst>
          </p:cNvPr>
          <p:cNvSpPr/>
          <p:nvPr/>
        </p:nvSpPr>
        <p:spPr>
          <a:xfrm>
            <a:off x="5519936" y="2216137"/>
            <a:ext cx="944940" cy="63408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Problem solv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AA719CD-8920-4FAF-8FC0-EE25F9ECE5F1}"/>
              </a:ext>
            </a:extLst>
          </p:cNvPr>
          <p:cNvSpPr/>
          <p:nvPr/>
        </p:nvSpPr>
        <p:spPr>
          <a:xfrm>
            <a:off x="3186838" y="2204981"/>
            <a:ext cx="1073599" cy="63408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Team work skill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F3C3191-75A8-4687-84AD-F3D1EE45D77D}"/>
              </a:ext>
            </a:extLst>
          </p:cNvPr>
          <p:cNvSpPr/>
          <p:nvPr/>
        </p:nvSpPr>
        <p:spPr>
          <a:xfrm>
            <a:off x="3619713" y="2903933"/>
            <a:ext cx="995487" cy="231754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Programming languages &amp; Software engineering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8E6E375-A234-492B-8946-E716CF95198A}"/>
              </a:ext>
            </a:extLst>
          </p:cNvPr>
          <p:cNvCxnSpPr>
            <a:cxnSpLocks/>
          </p:cNvCxnSpPr>
          <p:nvPr/>
        </p:nvCxnSpPr>
        <p:spPr>
          <a:xfrm>
            <a:off x="619847" y="1606305"/>
            <a:ext cx="58837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92F31EA-5F0A-4025-80A3-B00F9CCEA03E}"/>
              </a:ext>
            </a:extLst>
          </p:cNvPr>
          <p:cNvSpPr txBox="1"/>
          <p:nvPr/>
        </p:nvSpPr>
        <p:spPr>
          <a:xfrm>
            <a:off x="2926571" y="1372003"/>
            <a:ext cx="1183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schemeClr val="accent1">
                    <a:lumMod val="50000"/>
                  </a:schemeClr>
                </a:solidFill>
              </a:rPr>
              <a:t>Broad knowledge</a:t>
            </a:r>
          </a:p>
        </p:txBody>
      </p:sp>
    </p:spTree>
    <p:extLst>
      <p:ext uri="{BB962C8B-B14F-4D97-AF65-F5344CB8AC3E}">
        <p14:creationId xmlns:p14="http://schemas.microsoft.com/office/powerpoint/2010/main" val="427950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2FC44C5-F28B-449A-8C2F-3782EE0154A8}"/>
              </a:ext>
            </a:extLst>
          </p:cNvPr>
          <p:cNvCxnSpPr>
            <a:cxnSpLocks/>
          </p:cNvCxnSpPr>
          <p:nvPr/>
        </p:nvCxnSpPr>
        <p:spPr>
          <a:xfrm flipH="1">
            <a:off x="2332853" y="1313458"/>
            <a:ext cx="18731" cy="3905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/>
              <a:t>Role Teste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8EFF1F-4620-4DA0-B8E9-D2CEA00CC1D4}"/>
              </a:ext>
            </a:extLst>
          </p:cNvPr>
          <p:cNvSpPr/>
          <p:nvPr/>
        </p:nvSpPr>
        <p:spPr>
          <a:xfrm>
            <a:off x="701760" y="1581140"/>
            <a:ext cx="5982586" cy="1276976"/>
          </a:xfrm>
          <a:prstGeom prst="roundRect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dirty="0"/>
              <a:t>Test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1C5F5A-E314-410D-93A7-052E1F21DF2E}"/>
              </a:ext>
            </a:extLst>
          </p:cNvPr>
          <p:cNvSpPr txBox="1"/>
          <p:nvPr/>
        </p:nvSpPr>
        <p:spPr>
          <a:xfrm>
            <a:off x="7608168" y="1313458"/>
            <a:ext cx="3974232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Defines testcases and scenario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Ensures that the solution meets the acceptance crite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Ensures that the solution meets the business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Composes defect reports (bug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Reports any finding in overall process when running regression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Identifies improvement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3">
                    <a:lumMod val="50000"/>
                  </a:schemeClr>
                </a:solidFill>
              </a:rPr>
              <a:t>Collaborates with the team</a:t>
            </a:r>
            <a:endParaRPr lang="en-GB" dirty="0">
              <a:solidFill>
                <a:schemeClr val="accent3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D72B9D-8A07-46CD-932E-EAA15689F7B2}"/>
              </a:ext>
            </a:extLst>
          </p:cNvPr>
          <p:cNvSpPr/>
          <p:nvPr/>
        </p:nvSpPr>
        <p:spPr>
          <a:xfrm>
            <a:off x="788553" y="2016632"/>
            <a:ext cx="1073599" cy="645238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Quality assuranc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682C644-82B7-4ADE-B7C4-8063A839AC31}"/>
              </a:ext>
            </a:extLst>
          </p:cNvPr>
          <p:cNvSpPr/>
          <p:nvPr/>
        </p:nvSpPr>
        <p:spPr>
          <a:xfrm>
            <a:off x="1948945" y="2027788"/>
            <a:ext cx="1073599" cy="634082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ollaboration skill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794B825-E767-4BB4-8E05-BE2110F97AB4}"/>
              </a:ext>
            </a:extLst>
          </p:cNvPr>
          <p:cNvSpPr/>
          <p:nvPr/>
        </p:nvSpPr>
        <p:spPr>
          <a:xfrm>
            <a:off x="2473699" y="2704297"/>
            <a:ext cx="1073599" cy="2514911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Test framework development &amp; Test strateg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16FF3D3-E251-4100-BDA2-CD7278850D0C}"/>
              </a:ext>
            </a:extLst>
          </p:cNvPr>
          <p:cNvSpPr/>
          <p:nvPr/>
        </p:nvSpPr>
        <p:spPr>
          <a:xfrm>
            <a:off x="3566030" y="2704296"/>
            <a:ext cx="1073592" cy="2514911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Functional knowledg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4F1691-537D-407F-9FEE-E71B0BD81EB4}"/>
              </a:ext>
            </a:extLst>
          </p:cNvPr>
          <p:cNvSpPr/>
          <p:nvPr/>
        </p:nvSpPr>
        <p:spPr>
          <a:xfrm>
            <a:off x="4295192" y="2027788"/>
            <a:ext cx="1056625" cy="634082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Understanding of the test proces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149082-967A-4C39-8018-F1A5A136A801}"/>
              </a:ext>
            </a:extLst>
          </p:cNvPr>
          <p:cNvSpPr/>
          <p:nvPr/>
        </p:nvSpPr>
        <p:spPr>
          <a:xfrm>
            <a:off x="5455584" y="2027788"/>
            <a:ext cx="1073599" cy="634082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Analytical and logical reason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AA719CD-8920-4FAF-8FC0-EE25F9ECE5F1}"/>
              </a:ext>
            </a:extLst>
          </p:cNvPr>
          <p:cNvSpPr/>
          <p:nvPr/>
        </p:nvSpPr>
        <p:spPr>
          <a:xfrm>
            <a:off x="3117826" y="1988248"/>
            <a:ext cx="1073599" cy="634082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Understanding of development languag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08554D-5C9B-496E-BB6B-AB47138E9C5A}"/>
              </a:ext>
            </a:extLst>
          </p:cNvPr>
          <p:cNvSpPr txBox="1"/>
          <p:nvPr/>
        </p:nvSpPr>
        <p:spPr>
          <a:xfrm rot="16200000">
            <a:off x="1563560" y="3590082"/>
            <a:ext cx="1276975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accent3">
                    <a:lumMod val="50000"/>
                  </a:schemeClr>
                </a:solidFill>
              </a:rPr>
              <a:t>Deep expertis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D973DF7-F212-46EF-8322-801EDA996264}"/>
              </a:ext>
            </a:extLst>
          </p:cNvPr>
          <p:cNvCxnSpPr>
            <a:cxnSpLocks/>
          </p:cNvCxnSpPr>
          <p:nvPr/>
        </p:nvCxnSpPr>
        <p:spPr>
          <a:xfrm>
            <a:off x="708631" y="1313460"/>
            <a:ext cx="58837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5AB5502-B45E-4AC0-BD5A-5540B52221A7}"/>
              </a:ext>
            </a:extLst>
          </p:cNvPr>
          <p:cNvSpPr txBox="1"/>
          <p:nvPr/>
        </p:nvSpPr>
        <p:spPr>
          <a:xfrm>
            <a:off x="3015355" y="1079158"/>
            <a:ext cx="1183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schemeClr val="accent3">
                    <a:lumMod val="50000"/>
                  </a:schemeClr>
                </a:solidFill>
              </a:rPr>
              <a:t>Broad knowledge</a:t>
            </a:r>
          </a:p>
        </p:txBody>
      </p:sp>
    </p:spTree>
    <p:extLst>
      <p:ext uri="{BB962C8B-B14F-4D97-AF65-F5344CB8AC3E}">
        <p14:creationId xmlns:p14="http://schemas.microsoft.com/office/powerpoint/2010/main" val="1807146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9EA2DA1-EFB7-4095-92A1-1A3E03F9F8D9}"/>
              </a:ext>
            </a:extLst>
          </p:cNvPr>
          <p:cNvCxnSpPr>
            <a:cxnSpLocks/>
          </p:cNvCxnSpPr>
          <p:nvPr/>
        </p:nvCxnSpPr>
        <p:spPr>
          <a:xfrm>
            <a:off x="2479384" y="1556792"/>
            <a:ext cx="0" cy="34474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rmAutofit/>
          </a:bodyPr>
          <a:lstStyle/>
          <a:p>
            <a:r>
              <a:rPr lang="en-GB" sz="3600" dirty="0"/>
              <a:t>Role Customer Support Specialis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48EFF1F-4620-4DA0-B8E9-D2CEA00CC1D4}"/>
              </a:ext>
            </a:extLst>
          </p:cNvPr>
          <p:cNvSpPr/>
          <p:nvPr/>
        </p:nvSpPr>
        <p:spPr>
          <a:xfrm>
            <a:off x="695400" y="1802808"/>
            <a:ext cx="5982586" cy="1276976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GB" b="1" dirty="0">
                <a:solidFill>
                  <a:schemeClr val="bg1">
                    <a:lumMod val="95000"/>
                  </a:schemeClr>
                </a:solidFill>
              </a:rPr>
              <a:t>Customer Support Specialist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1C5F5A-E314-410D-93A7-052E1F21DF2E}"/>
              </a:ext>
            </a:extLst>
          </p:cNvPr>
          <p:cNvSpPr txBox="1"/>
          <p:nvPr/>
        </p:nvSpPr>
        <p:spPr>
          <a:xfrm>
            <a:off x="7746745" y="1515333"/>
            <a:ext cx="3974232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First point of contact for application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Troubleshoots iss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chemeClr val="accent2">
                    <a:lumMod val="50000"/>
                  </a:schemeClr>
                </a:solidFill>
              </a:rPr>
              <a:t>Useage</a:t>
            </a: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 and technical gu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Identifies improvement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2">
                    <a:lumMod val="50000"/>
                  </a:schemeClr>
                </a:solidFill>
              </a:rPr>
              <a:t>Collaborates between customer and </a:t>
            </a:r>
            <a:r>
              <a:rPr lang="en-GB">
                <a:solidFill>
                  <a:schemeClr val="accent2">
                    <a:lumMod val="50000"/>
                  </a:schemeClr>
                </a:solidFill>
              </a:rPr>
              <a:t>the development team</a:t>
            </a:r>
            <a:endParaRPr lang="en-GB">
              <a:solidFill>
                <a:schemeClr val="accent2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ED72B9D-8A07-46CD-932E-EAA15689F7B2}"/>
              </a:ext>
            </a:extLst>
          </p:cNvPr>
          <p:cNvSpPr/>
          <p:nvPr/>
        </p:nvSpPr>
        <p:spPr>
          <a:xfrm>
            <a:off x="782193" y="2238300"/>
            <a:ext cx="1160388" cy="64523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Communication &amp; soft skill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682C644-82B7-4ADE-B7C4-8063A839AC31}"/>
              </a:ext>
            </a:extLst>
          </p:cNvPr>
          <p:cNvSpPr/>
          <p:nvPr/>
        </p:nvSpPr>
        <p:spPr>
          <a:xfrm>
            <a:off x="2018464" y="2257621"/>
            <a:ext cx="1073599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Collaboration skill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16FF3D3-E251-4100-BDA2-CD7278850D0C}"/>
              </a:ext>
            </a:extLst>
          </p:cNvPr>
          <p:cNvSpPr/>
          <p:nvPr/>
        </p:nvSpPr>
        <p:spPr>
          <a:xfrm>
            <a:off x="3085131" y="2963556"/>
            <a:ext cx="1343497" cy="2040665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Troubleshooting skill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74F1691-537D-407F-9FEE-E71B0BD81EB4}"/>
              </a:ext>
            </a:extLst>
          </p:cNvPr>
          <p:cNvSpPr/>
          <p:nvPr/>
        </p:nvSpPr>
        <p:spPr>
          <a:xfrm>
            <a:off x="4387297" y="2243878"/>
            <a:ext cx="1155975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>
                    <a:lumMod val="95000"/>
                  </a:schemeClr>
                </a:solidFill>
              </a:rPr>
              <a:t>Understanding of client situatio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7149082-967A-4C39-8018-F1A5A136A801}"/>
              </a:ext>
            </a:extLst>
          </p:cNvPr>
          <p:cNvSpPr/>
          <p:nvPr/>
        </p:nvSpPr>
        <p:spPr>
          <a:xfrm>
            <a:off x="5589634" y="2243878"/>
            <a:ext cx="1023805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Technical awarenes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AA719CD-8920-4FAF-8FC0-EE25F9ECE5F1}"/>
              </a:ext>
            </a:extLst>
          </p:cNvPr>
          <p:cNvSpPr/>
          <p:nvPr/>
        </p:nvSpPr>
        <p:spPr>
          <a:xfrm>
            <a:off x="3220081" y="2249456"/>
            <a:ext cx="1073599" cy="63408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/>
              <a:t>Functional knowledge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55F85AB-C8D6-45EC-B852-74FD457FD24F}"/>
              </a:ext>
            </a:extLst>
          </p:cNvPr>
          <p:cNvCxnSpPr/>
          <p:nvPr/>
        </p:nvCxnSpPr>
        <p:spPr>
          <a:xfrm>
            <a:off x="695400" y="1556792"/>
            <a:ext cx="597666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149035B-FAEF-4284-AEEB-54AA8BBDDC5A}"/>
              </a:ext>
            </a:extLst>
          </p:cNvPr>
          <p:cNvSpPr txBox="1"/>
          <p:nvPr/>
        </p:nvSpPr>
        <p:spPr>
          <a:xfrm>
            <a:off x="3092063" y="1332971"/>
            <a:ext cx="1183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>
                <a:solidFill>
                  <a:schemeClr val="accent2">
                    <a:lumMod val="50000"/>
                  </a:schemeClr>
                </a:solidFill>
              </a:rPr>
              <a:t>Broad knowled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7296E2-62AE-497C-B110-DF60D3DC8C77}"/>
              </a:ext>
            </a:extLst>
          </p:cNvPr>
          <p:cNvSpPr txBox="1"/>
          <p:nvPr/>
        </p:nvSpPr>
        <p:spPr>
          <a:xfrm rot="16200000">
            <a:off x="1710092" y="3731176"/>
            <a:ext cx="1276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accent2">
                    <a:lumMod val="50000"/>
                  </a:schemeClr>
                </a:solidFill>
              </a:rPr>
              <a:t>Deep expertise</a:t>
            </a:r>
          </a:p>
        </p:txBody>
      </p:sp>
    </p:spTree>
    <p:extLst>
      <p:ext uri="{BB962C8B-B14F-4D97-AF65-F5344CB8AC3E}">
        <p14:creationId xmlns:p14="http://schemas.microsoft.com/office/powerpoint/2010/main" val="3052487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Esity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ninen pohj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sileht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Kansileht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AB0F95627DAF4393DD7401E9504E2C" ma:contentTypeVersion="4" ma:contentTypeDescription="Create a new document." ma:contentTypeScope="" ma:versionID="1ab31e30b2f9b6834fffdd66c954f38d">
  <xsd:schema xmlns:xsd="http://www.w3.org/2001/XMLSchema" xmlns:xs="http://www.w3.org/2001/XMLSchema" xmlns:p="http://schemas.microsoft.com/office/2006/metadata/properties" xmlns:ns2="863af97c-2253-4c66-8f53-c41568fdc0a5" targetNamespace="http://schemas.microsoft.com/office/2006/metadata/properties" ma:root="true" ma:fieldsID="5a49c882ff1961057e8b218065b0bbd1" ns2:_="">
    <xsd:import namespace="863af97c-2253-4c66-8f53-c41568fdc0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3af97c-2253-4c66-8f53-c41568fdc0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3B9C58-0412-4BFB-9923-9A5BAFE2DD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4552EC9-1054-44B8-8137-7CFA6D7805DC}">
  <ds:schemaRefs>
    <ds:schemaRef ds:uri="http://purl.org/dc/dcmitype/"/>
    <ds:schemaRef ds:uri="http://www.w3.org/XML/1998/namespace"/>
    <ds:schemaRef ds:uri="2ddcbb9e-aec5-49b9-9601-93968b792a18"/>
    <ds:schemaRef ds:uri="http://purl.org/dc/terms/"/>
    <ds:schemaRef ds:uri="http://schemas.microsoft.com/office/2006/documentManagement/types"/>
    <ds:schemaRef ds:uri="562ff146-7854-4642-8970-8e450df5356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97A785D-0C2C-45A6-969B-42B08468F414}"/>
</file>

<file path=docProps/app.xml><?xml version="1.0" encoding="utf-8"?>
<Properties xmlns="http://schemas.openxmlformats.org/officeDocument/2006/extended-properties" xmlns:vt="http://schemas.openxmlformats.org/officeDocument/2006/docPropsVTypes">
  <Template>Esitys</Template>
  <TotalTime>301388</TotalTime>
  <Words>363</Words>
  <Application>Microsoft Office PowerPoint</Application>
  <PresentationFormat>Widescreen</PresentationFormat>
  <Paragraphs>133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Esitys</vt:lpstr>
      <vt:lpstr>Sininen pohja</vt:lpstr>
      <vt:lpstr>Kansilehti</vt:lpstr>
      <vt:lpstr>1_Kansilehti</vt:lpstr>
      <vt:lpstr>PowerPoint Presentation</vt:lpstr>
      <vt:lpstr>Procomp roles in Development Team</vt:lpstr>
      <vt:lpstr>Role Optimisation Specialist </vt:lpstr>
      <vt:lpstr>Role UX Designer</vt:lpstr>
      <vt:lpstr>Role Product Owner</vt:lpstr>
      <vt:lpstr>Role Developer</vt:lpstr>
      <vt:lpstr>Role Tester</vt:lpstr>
      <vt:lpstr>Role Customer Support Speciali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Russell-Smith</dc:creator>
  <cp:lastModifiedBy>Riikka Helle</cp:lastModifiedBy>
  <cp:revision>1684</cp:revision>
  <cp:lastPrinted>2014-04-08T09:05:19Z</cp:lastPrinted>
  <dcterms:created xsi:type="dcterms:W3CDTF">2013-01-09T13:27:39Z</dcterms:created>
  <dcterms:modified xsi:type="dcterms:W3CDTF">2021-09-02T15:0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AB0F95627DAF4393DD7401E9504E2C</vt:lpwstr>
  </property>
</Properties>
</file>